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2"/>
  </p:notesMasterIdLst>
  <p:handoutMasterIdLst>
    <p:handoutMasterId r:id="rId13"/>
  </p:handoutMasterIdLst>
  <p:sldIdLst>
    <p:sldId id="2004" r:id="rId5"/>
    <p:sldId id="2474" r:id="rId6"/>
    <p:sldId id="2487" r:id="rId7"/>
    <p:sldId id="2484" r:id="rId8"/>
    <p:sldId id="2481" r:id="rId9"/>
    <p:sldId id="2485" r:id="rId10"/>
    <p:sldId id="1471" r:id="rId11"/>
  </p:sldIdLst>
  <p:sldSz cx="12192000" cy="6858000"/>
  <p:notesSz cx="6881813" cy="9296400"/>
  <p:custDataLst>
    <p:tags r:id="rId1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004"/>
            <p14:sldId id="2474"/>
            <p14:sldId id="2487"/>
            <p14:sldId id="2484"/>
            <p14:sldId id="2481"/>
            <p14:sldId id="2485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72" userDrawn="1">
          <p15:clr>
            <a:srgbClr val="A4A3A4"/>
          </p15:clr>
        </p15:guide>
        <p15:guide id="3" pos="1890" userDrawn="1">
          <p15:clr>
            <a:srgbClr val="A4A3A4"/>
          </p15:clr>
        </p15:guide>
        <p15:guide id="4" pos="2872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40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9FDC"/>
    <a:srgbClr val="3EAB22"/>
    <a:srgbClr val="394451"/>
    <a:srgbClr val="465362"/>
    <a:srgbClr val="0B5395"/>
    <a:srgbClr val="FAB41E"/>
    <a:srgbClr val="666666"/>
    <a:srgbClr val="043A6C"/>
    <a:srgbClr val="ECF4FB"/>
    <a:srgbClr val="043C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54" autoAdjust="0"/>
    <p:restoredTop sz="82230" autoAdjust="0"/>
  </p:normalViewPr>
  <p:slideViewPr>
    <p:cSldViewPr>
      <p:cViewPr varScale="1">
        <p:scale>
          <a:sx n="57" d="100"/>
          <a:sy n="57" d="100"/>
        </p:scale>
        <p:origin x="1062" y="78"/>
      </p:cViewPr>
      <p:guideLst>
        <p:guide pos="272"/>
        <p:guide pos="1890"/>
        <p:guide pos="2872"/>
        <p:guide orient="horz" pos="2614"/>
        <p:guide orient="horz" pos="406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1552" y="-1552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oyectos\Fiscalia2\Proyectos\EPM\Consultas%20SQL\Estadisticas_epm\epm_tipo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pm_madrid_tipos.xlsx]Descargar Hoja de Trabajo!TablaDinámica1</c:name>
    <c:fmtId val="6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3.5578357820607517E-2"/>
          <c:y val="6.2024227053416044E-2"/>
          <c:w val="0.80898141956414993"/>
          <c:h val="0.851370657669424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escargar Hoja de Trabajo'!$G$4:$G$5</c:f>
              <c:strCache>
                <c:ptCount val="1"/>
                <c:pt idx="0">
                  <c:v>Determinación de Ed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G$6:$G$15</c:f>
              <c:numCache>
                <c:formatCode>General</c:formatCode>
                <c:ptCount val="9"/>
                <c:pt idx="0">
                  <c:v>54</c:v>
                </c:pt>
                <c:pt idx="1">
                  <c:v>47</c:v>
                </c:pt>
                <c:pt idx="2">
                  <c:v>91</c:v>
                </c:pt>
                <c:pt idx="3">
                  <c:v>186</c:v>
                </c:pt>
                <c:pt idx="4">
                  <c:v>288</c:v>
                </c:pt>
                <c:pt idx="5">
                  <c:v>317</c:v>
                </c:pt>
                <c:pt idx="6">
                  <c:v>161</c:v>
                </c:pt>
                <c:pt idx="7">
                  <c:v>210</c:v>
                </c:pt>
                <c:pt idx="8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61-42BA-AD50-7CAAFD192E1A}"/>
            </c:ext>
          </c:extLst>
        </c:ser>
        <c:ser>
          <c:idx val="1"/>
          <c:order val="1"/>
          <c:tx>
            <c:strRef>
              <c:f>'Descargar Hoja de Trabajo'!$H$4:$H$5</c:f>
              <c:strCache>
                <c:ptCount val="1"/>
                <c:pt idx="0">
                  <c:v>Diligencias Informativa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H$6:$H$15</c:f>
              <c:numCache>
                <c:formatCode>General</c:formatCode>
                <c:ptCount val="9"/>
                <c:pt idx="2">
                  <c:v>28</c:v>
                </c:pt>
                <c:pt idx="3">
                  <c:v>116</c:v>
                </c:pt>
                <c:pt idx="4">
                  <c:v>78</c:v>
                </c:pt>
                <c:pt idx="5">
                  <c:v>107</c:v>
                </c:pt>
                <c:pt idx="6">
                  <c:v>91</c:v>
                </c:pt>
                <c:pt idx="7">
                  <c:v>94</c:v>
                </c:pt>
                <c:pt idx="8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61-42BA-AD50-7CAAFD192E1A}"/>
            </c:ext>
          </c:extLst>
        </c:ser>
        <c:ser>
          <c:idx val="2"/>
          <c:order val="2"/>
          <c:tx>
            <c:strRef>
              <c:f>'Descargar Hoja de Trabajo'!$I$4:$I$5</c:f>
              <c:strCache>
                <c:ptCount val="1"/>
                <c:pt idx="0">
                  <c:v>Ensayo clínic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I$6:$I$15</c:f>
              <c:numCache>
                <c:formatCode>General</c:formatCode>
                <c:ptCount val="9"/>
                <c:pt idx="0">
                  <c:v>62</c:v>
                </c:pt>
                <c:pt idx="1">
                  <c:v>49</c:v>
                </c:pt>
                <c:pt idx="2">
                  <c:v>39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61-42BA-AD50-7CAAFD192E1A}"/>
            </c:ext>
          </c:extLst>
        </c:ser>
        <c:ser>
          <c:idx val="3"/>
          <c:order val="3"/>
          <c:tx>
            <c:strRef>
              <c:f>'Descargar Hoja de Trabajo'!$J$4:$J$5</c:f>
              <c:strCache>
                <c:ptCount val="1"/>
                <c:pt idx="0">
                  <c:v>Guard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J$6:$J$15</c:f>
              <c:numCache>
                <c:formatCode>General</c:formatCode>
                <c:ptCount val="9"/>
                <c:pt idx="0">
                  <c:v>102</c:v>
                </c:pt>
                <c:pt idx="1">
                  <c:v>88</c:v>
                </c:pt>
                <c:pt idx="2">
                  <c:v>127</c:v>
                </c:pt>
                <c:pt idx="3">
                  <c:v>189</c:v>
                </c:pt>
                <c:pt idx="4">
                  <c:v>159</c:v>
                </c:pt>
                <c:pt idx="5">
                  <c:v>163</c:v>
                </c:pt>
                <c:pt idx="6">
                  <c:v>84</c:v>
                </c:pt>
                <c:pt idx="7">
                  <c:v>95</c:v>
                </c:pt>
                <c:pt idx="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61-42BA-AD50-7CAAFD192E1A}"/>
            </c:ext>
          </c:extLst>
        </c:ser>
        <c:ser>
          <c:idx val="4"/>
          <c:order val="4"/>
          <c:tx>
            <c:strRef>
              <c:f>'Descargar Hoja de Trabajo'!$K$4:$K$5</c:f>
              <c:strCache>
                <c:ptCount val="1"/>
                <c:pt idx="0">
                  <c:v>Situación en Riesg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K$6:$K$15</c:f>
              <c:numCache>
                <c:formatCode>General</c:formatCode>
                <c:ptCount val="9"/>
                <c:pt idx="0">
                  <c:v>1865</c:v>
                </c:pt>
                <c:pt idx="1">
                  <c:v>1582</c:v>
                </c:pt>
                <c:pt idx="2">
                  <c:v>1759</c:v>
                </c:pt>
                <c:pt idx="3">
                  <c:v>2618</c:v>
                </c:pt>
                <c:pt idx="4">
                  <c:v>3426</c:v>
                </c:pt>
                <c:pt idx="5">
                  <c:v>3019</c:v>
                </c:pt>
                <c:pt idx="6">
                  <c:v>2521</c:v>
                </c:pt>
                <c:pt idx="7">
                  <c:v>3784</c:v>
                </c:pt>
                <c:pt idx="8">
                  <c:v>1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461-42BA-AD50-7CAAFD192E1A}"/>
            </c:ext>
          </c:extLst>
        </c:ser>
        <c:ser>
          <c:idx val="5"/>
          <c:order val="5"/>
          <c:tx>
            <c:strRef>
              <c:f>'Descargar Hoja de Trabajo'!$L$4:$L$5</c:f>
              <c:strCache>
                <c:ptCount val="1"/>
                <c:pt idx="0">
                  <c:v>Tutela Automátic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L$6:$L$15</c:f>
              <c:numCache>
                <c:formatCode>General</c:formatCode>
                <c:ptCount val="9"/>
                <c:pt idx="0">
                  <c:v>224</c:v>
                </c:pt>
                <c:pt idx="1">
                  <c:v>237</c:v>
                </c:pt>
                <c:pt idx="2">
                  <c:v>328</c:v>
                </c:pt>
                <c:pt idx="3">
                  <c:v>534</c:v>
                </c:pt>
                <c:pt idx="4">
                  <c:v>674</c:v>
                </c:pt>
                <c:pt idx="5">
                  <c:v>804</c:v>
                </c:pt>
                <c:pt idx="6">
                  <c:v>552</c:v>
                </c:pt>
                <c:pt idx="7">
                  <c:v>694</c:v>
                </c:pt>
                <c:pt idx="8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61-42BA-AD50-7CAAFD192E1A}"/>
            </c:ext>
          </c:extLst>
        </c:ser>
        <c:ser>
          <c:idx val="6"/>
          <c:order val="6"/>
          <c:tx>
            <c:strRef>
              <c:f>'Descargar Hoja de Trabajo'!$M$4:$M$5</c:f>
              <c:strCache>
                <c:ptCount val="1"/>
                <c:pt idx="0">
                  <c:v>Visita a Centro de Menor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M$6:$M$15</c:f>
              <c:numCache>
                <c:formatCode>General</c:formatCode>
                <c:ptCount val="9"/>
                <c:pt idx="0">
                  <c:v>20</c:v>
                </c:pt>
                <c:pt idx="1">
                  <c:v>13</c:v>
                </c:pt>
                <c:pt idx="2">
                  <c:v>26</c:v>
                </c:pt>
                <c:pt idx="3">
                  <c:v>38</c:v>
                </c:pt>
                <c:pt idx="4">
                  <c:v>37</c:v>
                </c:pt>
                <c:pt idx="5">
                  <c:v>42</c:v>
                </c:pt>
                <c:pt idx="6">
                  <c:v>25</c:v>
                </c:pt>
                <c:pt idx="7">
                  <c:v>44</c:v>
                </c:pt>
                <c:pt idx="8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461-42BA-AD50-7CAAFD192E1A}"/>
            </c:ext>
          </c:extLst>
        </c:ser>
        <c:ser>
          <c:idx val="7"/>
          <c:order val="7"/>
          <c:tx>
            <c:strRef>
              <c:f>'Descargar Hoja de Trabajo'!$N$4:$N$5</c:f>
              <c:strCache>
                <c:ptCount val="1"/>
                <c:pt idx="0">
                  <c:v>Visitas a Fiscalía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Descargar Hoja de Trabajo'!$F$6:$F$15</c:f>
              <c:strCach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strCache>
            </c:strRef>
          </c:cat>
          <c:val>
            <c:numRef>
              <c:f>'Descargar Hoja de Trabajo'!$N$6:$N$15</c:f>
              <c:numCache>
                <c:formatCode>General</c:formatCode>
                <c:ptCount val="9"/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461-42BA-AD50-7CAAFD192E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3945616"/>
        <c:axId val="443942992"/>
      </c:barChart>
      <c:catAx>
        <c:axId val="443945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43942992"/>
        <c:crosses val="autoZero"/>
        <c:auto val="1"/>
        <c:lblAlgn val="ctr"/>
        <c:lblOffset val="100"/>
        <c:noMultiLvlLbl val="0"/>
      </c:catAx>
      <c:valAx>
        <c:axId val="44394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43945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pm_tipos.xlsx]Hoja1!TablaDinámica1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400" b="0" i="1" u="none" strike="noStrike" baseline="0" noProof="0" dirty="0">
                <a:solidFill>
                  <a:schemeClr val="tx1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Totales en la aplicación</a:t>
            </a:r>
            <a:endParaRPr lang="es-ES" noProof="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0"/>
        <c:spPr>
          <a:solidFill>
            <a:schemeClr val="accent1"/>
          </a:solidFill>
          <a:ln>
            <a:noFill/>
          </a:ln>
          <a:effectLst/>
        </c:spPr>
        <c:dLbl>
          <c:idx val="0"/>
          <c:spPr>
            <a:solidFill>
              <a:sysClr val="window" lastClr="FFFFFF"/>
            </a:solidFill>
            <a:ln>
              <a:solidFill>
                <a:sysClr val="windowText" lastClr="000000">
                  <a:lumMod val="25000"/>
                  <a:lumOff val="75000"/>
                </a:sysClr>
              </a:solidFill>
            </a:ln>
            <a:effectLst/>
          </c:spPr>
          <c:txPr>
            <a:bodyPr rot="0" spcFirstLastPara="1" vertOverflow="clip" horzOverflow="clip" vert="horz" wrap="square" lIns="36576" tIns="18288" rIns="36576" bIns="18288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pPr xmlns:c15="http://schemas.microsoft.com/office/drawing/2012/chart">
                <a:prstGeom prst="wedgeEllipseCallout">
                  <a:avLst/>
                </a:prstGeom>
                <a:noFill/>
                <a:ln>
                  <a:noFill/>
                </a:ln>
              </c15:spPr>
            </c:ext>
          </c:extLst>
        </c:dLbl>
      </c:pivotFmt>
      <c:pivotFmt>
        <c:idx val="9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2"/>
        <c:spPr>
          <a:solidFill>
            <a:schemeClr val="accent1"/>
          </a:solidFill>
          <a:ln>
            <a:noFill/>
          </a:ln>
          <a:effectLst/>
        </c:spPr>
        <c:dLbl>
          <c:idx val="0"/>
          <c:spPr>
            <a:solidFill>
              <a:sysClr val="window" lastClr="FFFFFF"/>
            </a:solidFill>
            <a:ln>
              <a:solidFill>
                <a:sysClr val="windowText" lastClr="000000">
                  <a:lumMod val="25000"/>
                  <a:lumOff val="75000"/>
                </a:sysClr>
              </a:solidFill>
            </a:ln>
            <a:effectLst/>
          </c:spPr>
          <c:txPr>
            <a:bodyPr rot="0" spcFirstLastPara="1" vertOverflow="clip" horzOverflow="clip" vert="horz" wrap="square" lIns="36576" tIns="18288" rIns="36576" bIns="18288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pPr xmlns:c15="http://schemas.microsoft.com/office/drawing/2012/chart">
                <a:prstGeom prst="wedgeEllipseCallout">
                  <a:avLst/>
                </a:prstGeom>
                <a:noFill/>
                <a:ln>
                  <a:noFill/>
                </a:ln>
              </c15:spPr>
            </c:ext>
          </c:extLst>
        </c:dLbl>
      </c:pivotFmt>
      <c:pivotFmt>
        <c:idx val="9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4"/>
        <c:spPr>
          <a:solidFill>
            <a:schemeClr val="accent1"/>
          </a:solidFill>
          <a:ln>
            <a:noFill/>
          </a:ln>
          <a:effectLst/>
        </c:spPr>
        <c:dLbl>
          <c:idx val="0"/>
          <c:spPr>
            <a:solidFill>
              <a:sysClr val="window" lastClr="FFFFFF"/>
            </a:solidFill>
            <a:ln>
              <a:solidFill>
                <a:sysClr val="windowText" lastClr="000000">
                  <a:lumMod val="25000"/>
                  <a:lumOff val="75000"/>
                </a:sysClr>
              </a:solidFill>
            </a:ln>
            <a:effectLst/>
          </c:spPr>
          <c:txPr>
            <a:bodyPr rot="0" spcFirstLastPara="1" vertOverflow="clip" horzOverflow="clip" vert="horz" wrap="square" lIns="36576" tIns="18288" rIns="36576" bIns="18288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pPr xmlns:c15="http://schemas.microsoft.com/office/drawing/2012/chart">
                <a:prstGeom prst="wedgeEllipseCallout">
                  <a:avLst/>
                </a:prstGeom>
                <a:noFill/>
                <a:ln>
                  <a:noFill/>
                </a:ln>
              </c15:spPr>
            </c:ext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:$B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68D-4990-B20D-E0F60A243ED5}"/>
              </c:ext>
            </c:extLst>
          </c:dPt>
          <c:dLbls>
            <c:dLbl>
              <c:idx val="10"/>
              <c:layout>
                <c:manualLayout>
                  <c:x val="-3.2540928972632482E-3"/>
                  <c:y val="1.1082393845937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8D-4990-B20D-E0F60A243ED5}"/>
                </c:ext>
              </c:extLst>
            </c:dLbl>
            <c:dLbl>
              <c:idx val="11"/>
              <c:layout>
                <c:manualLayout>
                  <c:x val="-1.084697632421122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8D-4990-B20D-E0F60A243ED5}"/>
                </c:ext>
              </c:extLst>
            </c:dLbl>
            <c:dLbl>
              <c:idx val="15"/>
              <c:layout>
                <c:manualLayout>
                  <c:x val="3.2540928972632482E-3"/>
                  <c:y val="-2.21647876918759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68D-4990-B20D-E0F60A243ED5}"/>
                </c:ext>
              </c:extLst>
            </c:dLbl>
            <c:dLbl>
              <c:idx val="18"/>
              <c:layout>
                <c:manualLayout>
                  <c:x val="1.0846976324210827E-3"/>
                  <c:y val="-2.21647876918759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8D-4990-B20D-E0F60A243ED5}"/>
                </c:ext>
              </c:extLst>
            </c:dLbl>
            <c:dLbl>
              <c:idx val="24"/>
              <c:layout>
                <c:manualLayout>
                  <c:x val="2.1693952648420859E-3"/>
                  <c:y val="-1.32988726151255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8755334235482901E-2"/>
                      <c:h val="3.32140216192197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68D-4990-B20D-E0F60A243ED5}"/>
                </c:ext>
              </c:extLst>
            </c:dLbl>
            <c:dLbl>
              <c:idx val="26"/>
              <c:layout>
                <c:manualLayout>
                  <c:x val="7.592883426947578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68D-4990-B20D-E0F60A243ED5}"/>
                </c:ext>
              </c:extLst>
            </c:dLbl>
            <c:dLbl>
              <c:idx val="28"/>
              <c:layout>
                <c:manualLayout>
                  <c:x val="-7.9543574150056428E-17"/>
                  <c:y val="-2.10565483072821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8755334235482901E-2"/>
                      <c:h val="2.87810640808445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68D-4990-B20D-E0F60A243ED5}"/>
                </c:ext>
              </c:extLst>
            </c:dLbl>
            <c:dLbl>
              <c:idx val="39"/>
              <c:spPr>
                <a:solidFill>
                  <a:sysClr val="window" lastClr="FFFFFF"/>
                </a:solidFill>
                <a:ln>
                  <a:solidFill>
                    <a:sysClr val="windowText" lastClr="000000">
                      <a:lumMod val="25000"/>
                      <a:lumOff val="75000"/>
                    </a:sys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Ellipse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368D-4990-B20D-E0F60A243E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3:$A$59</c:f>
              <c:strCache>
                <c:ptCount val="56"/>
                <c:pt idx="0">
                  <c:v>Fiscalía de Area de Algeciras</c:v>
                </c:pt>
                <c:pt idx="1">
                  <c:v>Fiscalía de Area de Ceuta</c:v>
                </c:pt>
                <c:pt idx="2">
                  <c:v>Fiscalía de Area de Eivissa</c:v>
                </c:pt>
                <c:pt idx="3">
                  <c:v>Fiscalía de Area de Jerez de la Frontera</c:v>
                </c:pt>
                <c:pt idx="4">
                  <c:v>Fiscalía de Area de Melilla</c:v>
                </c:pt>
                <c:pt idx="5">
                  <c:v>Fiscalía de Area de Vigo</c:v>
                </c:pt>
                <c:pt idx="6">
                  <c:v>Fiscalía de la Comunidad Autonoma de Cantabria</c:v>
                </c:pt>
                <c:pt idx="7">
                  <c:v>Fiscalía de la Comunidad Autonoma de la Region de Murcia</c:v>
                </c:pt>
                <c:pt idx="8">
                  <c:v>Fiscalía de la Comunidad Autonoma de la Rioja</c:v>
                </c:pt>
                <c:pt idx="9">
                  <c:v>Fiscalía de la Comunidad Autonoma de las Illes Balears</c:v>
                </c:pt>
                <c:pt idx="10">
                  <c:v>Fiscalía de la Comunidad Autonoma del Principado de Asturias</c:v>
                </c:pt>
                <c:pt idx="11">
                  <c:v>Fiscalía de la Comunidad Foral de Navarra</c:v>
                </c:pt>
                <c:pt idx="12">
                  <c:v>Fiscalía Provincial de a Coruña</c:v>
                </c:pt>
                <c:pt idx="13">
                  <c:v>Fiscalía Provincial de Albacete</c:v>
                </c:pt>
                <c:pt idx="14">
                  <c:v>Fiscalía Provincial de Alicante</c:v>
                </c:pt>
                <c:pt idx="15">
                  <c:v>Fiscalía Provincial de Almería</c:v>
                </c:pt>
                <c:pt idx="16">
                  <c:v>Fiscalía Provincial de Araba/Alava</c:v>
                </c:pt>
                <c:pt idx="17">
                  <c:v>Fiscalía Provincial de Avila</c:v>
                </c:pt>
                <c:pt idx="18">
                  <c:v>Fiscalía Provincial de Badajoz</c:v>
                </c:pt>
                <c:pt idx="19">
                  <c:v>Fiscalía Provincial de Barcelona</c:v>
                </c:pt>
                <c:pt idx="20">
                  <c:v>Fiscalía Provincial de Bizkaia</c:v>
                </c:pt>
                <c:pt idx="21">
                  <c:v>Fiscalía Provincial de Burgos</c:v>
                </c:pt>
                <c:pt idx="22">
                  <c:v>Fiscalía Provincial de Caceres</c:v>
                </c:pt>
                <c:pt idx="23">
                  <c:v>Fiscalía Provincial de Cádiz</c:v>
                </c:pt>
                <c:pt idx="24">
                  <c:v>Fiscalía Provincial de Castellon</c:v>
                </c:pt>
                <c:pt idx="25">
                  <c:v>Fiscalía Provincial de Ciudad Real</c:v>
                </c:pt>
                <c:pt idx="26">
                  <c:v>Fiscalía Provincial de Cordoba</c:v>
                </c:pt>
                <c:pt idx="27">
                  <c:v>Fiscalía Provincial de Cuenca</c:v>
                </c:pt>
                <c:pt idx="28">
                  <c:v>Fiscalía Provincial de Gipuzkoa</c:v>
                </c:pt>
                <c:pt idx="29">
                  <c:v>Fiscalía Provincial de Girona</c:v>
                </c:pt>
                <c:pt idx="30">
                  <c:v>Fiscalía Provincial de Granada</c:v>
                </c:pt>
                <c:pt idx="31">
                  <c:v>Fiscalía Provincial de Guadalajara</c:v>
                </c:pt>
                <c:pt idx="32">
                  <c:v>Fiscalía Provincial de Huelva</c:v>
                </c:pt>
                <c:pt idx="33">
                  <c:v>Fiscalía Provincial de Huesca</c:v>
                </c:pt>
                <c:pt idx="34">
                  <c:v>Fiscalía Provincial de Jaen</c:v>
                </c:pt>
                <c:pt idx="35">
                  <c:v>Fiscalía Provincial de las Palmas</c:v>
                </c:pt>
                <c:pt idx="36">
                  <c:v>Fiscalía Provincial de Leon</c:v>
                </c:pt>
                <c:pt idx="37">
                  <c:v>Fiscalía Provincial de Lleida</c:v>
                </c:pt>
                <c:pt idx="38">
                  <c:v>Fiscalía Provincial de Lugo</c:v>
                </c:pt>
                <c:pt idx="39">
                  <c:v>Fiscalía Provincial de Madrid</c:v>
                </c:pt>
                <c:pt idx="40">
                  <c:v>Fiscalía Provincial de Málaga</c:v>
                </c:pt>
                <c:pt idx="41">
                  <c:v>Fiscalía Provincial de Ourense</c:v>
                </c:pt>
                <c:pt idx="42">
                  <c:v>Fiscalía Provincial de Palencia</c:v>
                </c:pt>
                <c:pt idx="43">
                  <c:v>Fiscalía Provincial de Pontevedra</c:v>
                </c:pt>
                <c:pt idx="44">
                  <c:v>Fiscalía Provincial de Salamanca</c:v>
                </c:pt>
                <c:pt idx="45">
                  <c:v>Fiscalía Provincial de Santa Cruz de Tenerife</c:v>
                </c:pt>
                <c:pt idx="46">
                  <c:v>Fiscalía Provincial de Segovia</c:v>
                </c:pt>
                <c:pt idx="47">
                  <c:v>Fiscalía Provincial de Sevilla</c:v>
                </c:pt>
                <c:pt idx="48">
                  <c:v>Fiscalía Provincial de Soria</c:v>
                </c:pt>
                <c:pt idx="49">
                  <c:v>Fiscalía Provincial de Tarragona</c:v>
                </c:pt>
                <c:pt idx="50">
                  <c:v>Fiscalía Provincial de Teruel</c:v>
                </c:pt>
                <c:pt idx="51">
                  <c:v>Fiscalía Provincial de Toledo</c:v>
                </c:pt>
                <c:pt idx="52">
                  <c:v>Fiscalía Provincial de Valencia</c:v>
                </c:pt>
                <c:pt idx="53">
                  <c:v>Fiscalía Provincial de Valladolid</c:v>
                </c:pt>
                <c:pt idx="54">
                  <c:v>Fiscalía Provincial de Zamora</c:v>
                </c:pt>
                <c:pt idx="55">
                  <c:v>Fiscalía Provincial de Zaragoza</c:v>
                </c:pt>
              </c:strCache>
            </c:strRef>
          </c:cat>
          <c:val>
            <c:numRef>
              <c:f>Hoja1!$B$3:$B$59</c:f>
              <c:numCache>
                <c:formatCode>#,##0</c:formatCode>
                <c:ptCount val="56"/>
                <c:pt idx="0">
                  <c:v>10059</c:v>
                </c:pt>
                <c:pt idx="1">
                  <c:v>4562</c:v>
                </c:pt>
                <c:pt idx="2">
                  <c:v>447</c:v>
                </c:pt>
                <c:pt idx="3">
                  <c:v>377</c:v>
                </c:pt>
                <c:pt idx="4">
                  <c:v>13644</c:v>
                </c:pt>
                <c:pt idx="5">
                  <c:v>7995</c:v>
                </c:pt>
                <c:pt idx="6">
                  <c:v>2717</c:v>
                </c:pt>
                <c:pt idx="7">
                  <c:v>6186</c:v>
                </c:pt>
                <c:pt idx="8">
                  <c:v>2839</c:v>
                </c:pt>
                <c:pt idx="9">
                  <c:v>8675</c:v>
                </c:pt>
                <c:pt idx="10">
                  <c:v>3700</c:v>
                </c:pt>
                <c:pt idx="11">
                  <c:v>4005</c:v>
                </c:pt>
                <c:pt idx="12">
                  <c:v>6631</c:v>
                </c:pt>
                <c:pt idx="13">
                  <c:v>1789</c:v>
                </c:pt>
                <c:pt idx="14">
                  <c:v>13402</c:v>
                </c:pt>
                <c:pt idx="15">
                  <c:v>13476</c:v>
                </c:pt>
                <c:pt idx="16">
                  <c:v>3355</c:v>
                </c:pt>
                <c:pt idx="17">
                  <c:v>749</c:v>
                </c:pt>
                <c:pt idx="18">
                  <c:v>1823</c:v>
                </c:pt>
                <c:pt idx="19">
                  <c:v>56031</c:v>
                </c:pt>
                <c:pt idx="20">
                  <c:v>8156</c:v>
                </c:pt>
                <c:pt idx="21">
                  <c:v>3154</c:v>
                </c:pt>
                <c:pt idx="22">
                  <c:v>1703</c:v>
                </c:pt>
                <c:pt idx="23">
                  <c:v>3495</c:v>
                </c:pt>
                <c:pt idx="24">
                  <c:v>4243</c:v>
                </c:pt>
                <c:pt idx="25">
                  <c:v>4362</c:v>
                </c:pt>
                <c:pt idx="26">
                  <c:v>5729</c:v>
                </c:pt>
                <c:pt idx="27">
                  <c:v>700</c:v>
                </c:pt>
                <c:pt idx="28">
                  <c:v>5080</c:v>
                </c:pt>
                <c:pt idx="29">
                  <c:v>4357</c:v>
                </c:pt>
                <c:pt idx="30">
                  <c:v>17386</c:v>
                </c:pt>
                <c:pt idx="31">
                  <c:v>1705</c:v>
                </c:pt>
                <c:pt idx="32">
                  <c:v>5120</c:v>
                </c:pt>
                <c:pt idx="33">
                  <c:v>894</c:v>
                </c:pt>
                <c:pt idx="34">
                  <c:v>3246</c:v>
                </c:pt>
                <c:pt idx="35">
                  <c:v>16183</c:v>
                </c:pt>
                <c:pt idx="36">
                  <c:v>1197</c:v>
                </c:pt>
                <c:pt idx="37">
                  <c:v>4202</c:v>
                </c:pt>
                <c:pt idx="38">
                  <c:v>1172</c:v>
                </c:pt>
                <c:pt idx="39">
                  <c:v>29407</c:v>
                </c:pt>
                <c:pt idx="40">
                  <c:v>17426</c:v>
                </c:pt>
                <c:pt idx="41">
                  <c:v>3543</c:v>
                </c:pt>
                <c:pt idx="42">
                  <c:v>482</c:v>
                </c:pt>
                <c:pt idx="43">
                  <c:v>78</c:v>
                </c:pt>
                <c:pt idx="44">
                  <c:v>669</c:v>
                </c:pt>
                <c:pt idx="45">
                  <c:v>6631</c:v>
                </c:pt>
                <c:pt idx="46">
                  <c:v>827</c:v>
                </c:pt>
                <c:pt idx="47">
                  <c:v>12818</c:v>
                </c:pt>
                <c:pt idx="48">
                  <c:v>540</c:v>
                </c:pt>
                <c:pt idx="49">
                  <c:v>10335</c:v>
                </c:pt>
                <c:pt idx="50">
                  <c:v>423</c:v>
                </c:pt>
                <c:pt idx="51">
                  <c:v>2302</c:v>
                </c:pt>
                <c:pt idx="52">
                  <c:v>12192</c:v>
                </c:pt>
                <c:pt idx="53">
                  <c:v>2055</c:v>
                </c:pt>
                <c:pt idx="54">
                  <c:v>509</c:v>
                </c:pt>
                <c:pt idx="55">
                  <c:v>2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8D-4990-B20D-E0F60A243E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25931888"/>
        <c:axId val="225930576"/>
      </c:barChart>
      <c:catAx>
        <c:axId val="22593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25930576"/>
        <c:crosses val="autoZero"/>
        <c:auto val="1"/>
        <c:lblAlgn val="ctr"/>
        <c:lblOffset val="100"/>
        <c:noMultiLvlLbl val="0"/>
      </c:catAx>
      <c:valAx>
        <c:axId val="225930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25931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23/03/2022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3/23/2022</a:t>
            </a:fld>
            <a:endParaRPr lang="en-U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42900" y="696913"/>
            <a:ext cx="6196013" cy="348615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1342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036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905301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1" name="Grupo 80">
            <a:extLst>
              <a:ext uri="{FF2B5EF4-FFF2-40B4-BE49-F238E27FC236}">
                <a16:creationId xmlns:a16="http://schemas.microsoft.com/office/drawing/2014/main" id="{51AF720B-7570-49F4-B2AF-DC552B329786}"/>
              </a:ext>
            </a:extLst>
          </p:cNvPr>
          <p:cNvGrpSpPr/>
          <p:nvPr userDrawn="1"/>
        </p:nvGrpSpPr>
        <p:grpSpPr>
          <a:xfrm>
            <a:off x="-141701" y="2129087"/>
            <a:ext cx="13361837" cy="4876669"/>
            <a:chOff x="-141701" y="2129087"/>
            <a:chExt cx="13361837" cy="4876669"/>
          </a:xfrm>
        </p:grpSpPr>
        <p:sp>
          <p:nvSpPr>
            <p:cNvPr id="65" name="Forma libre: forma 64">
              <a:extLst>
                <a:ext uri="{FF2B5EF4-FFF2-40B4-BE49-F238E27FC236}">
                  <a16:creationId xmlns:a16="http://schemas.microsoft.com/office/drawing/2014/main" id="{F55BDD31-33D5-46CC-A6A0-13B16A7C0468}"/>
                </a:ext>
              </a:extLst>
            </p:cNvPr>
            <p:cNvSpPr/>
            <p:nvPr userDrawn="1"/>
          </p:nvSpPr>
          <p:spPr>
            <a:xfrm rot="423631">
              <a:off x="-48469" y="2129087"/>
              <a:ext cx="6366789" cy="289591"/>
            </a:xfrm>
            <a:custGeom>
              <a:avLst/>
              <a:gdLst>
                <a:gd name="connsiteX0" fmla="*/ 0 w 6366789"/>
                <a:gd name="connsiteY0" fmla="*/ 0 h 289591"/>
                <a:gd name="connsiteX1" fmla="*/ 6366789 w 6366789"/>
                <a:gd name="connsiteY1" fmla="*/ 0 h 289591"/>
                <a:gd name="connsiteX2" fmla="*/ 5357304 w 6366789"/>
                <a:gd name="connsiteY2" fmla="*/ 125032 h 289591"/>
                <a:gd name="connsiteX3" fmla="*/ 32498 w 6366789"/>
                <a:gd name="connsiteY3" fmla="*/ 289591 h 28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66789" h="289591">
                  <a:moveTo>
                    <a:pt x="0" y="0"/>
                  </a:moveTo>
                  <a:lnTo>
                    <a:pt x="6366789" y="0"/>
                  </a:lnTo>
                  <a:lnTo>
                    <a:pt x="5357304" y="125032"/>
                  </a:lnTo>
                  <a:lnTo>
                    <a:pt x="32498" y="28959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64" name="Forma libre: forma 63">
              <a:extLst>
                <a:ext uri="{FF2B5EF4-FFF2-40B4-BE49-F238E27FC236}">
                  <a16:creationId xmlns:a16="http://schemas.microsoft.com/office/drawing/2014/main" id="{DA49DFC2-072D-4389-9464-DB157CD00A8E}"/>
                </a:ext>
              </a:extLst>
            </p:cNvPr>
            <p:cNvSpPr/>
            <p:nvPr userDrawn="1"/>
          </p:nvSpPr>
          <p:spPr>
            <a:xfrm rot="277972">
              <a:off x="-50661" y="2489041"/>
              <a:ext cx="11602989" cy="242730"/>
            </a:xfrm>
            <a:custGeom>
              <a:avLst/>
              <a:gdLst>
                <a:gd name="connsiteX0" fmla="*/ 0 w 11602989"/>
                <a:gd name="connsiteY0" fmla="*/ 0 h 242730"/>
                <a:gd name="connsiteX1" fmla="*/ 11602989 w 11602989"/>
                <a:gd name="connsiteY1" fmla="*/ 0 h 242730"/>
                <a:gd name="connsiteX2" fmla="*/ 19669 w 11602989"/>
                <a:gd name="connsiteY2" fmla="*/ 242730 h 24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02989" h="242730">
                  <a:moveTo>
                    <a:pt x="0" y="0"/>
                  </a:moveTo>
                  <a:lnTo>
                    <a:pt x="11602989" y="0"/>
                  </a:lnTo>
                  <a:lnTo>
                    <a:pt x="19669" y="2427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7" name="Forma libre: forma 76">
              <a:extLst>
                <a:ext uri="{FF2B5EF4-FFF2-40B4-BE49-F238E27FC236}">
                  <a16:creationId xmlns:a16="http://schemas.microsoft.com/office/drawing/2014/main" id="{15B64AFC-7EE9-4146-AE14-911F90B28A76}"/>
                </a:ext>
              </a:extLst>
            </p:cNvPr>
            <p:cNvSpPr/>
            <p:nvPr userDrawn="1"/>
          </p:nvSpPr>
          <p:spPr>
            <a:xfrm rot="205944">
              <a:off x="-141701" y="2628664"/>
              <a:ext cx="12278094" cy="3634017"/>
            </a:xfrm>
            <a:custGeom>
              <a:avLst/>
              <a:gdLst>
                <a:gd name="connsiteX0" fmla="*/ 0 w 12278094"/>
                <a:gd name="connsiteY0" fmla="*/ 0 h 3634017"/>
                <a:gd name="connsiteX1" fmla="*/ 12235852 w 12278094"/>
                <a:gd name="connsiteY1" fmla="*/ 0 h 3634017"/>
                <a:gd name="connsiteX2" fmla="*/ 12278094 w 12278094"/>
                <a:gd name="connsiteY2" fmla="*/ 704272 h 3634017"/>
                <a:gd name="connsiteX3" fmla="*/ 9225677 w 12278094"/>
                <a:gd name="connsiteY3" fmla="*/ 3634017 h 3634017"/>
                <a:gd name="connsiteX4" fmla="*/ 217963 w 12278094"/>
                <a:gd name="connsiteY4" fmla="*/ 3634017 h 363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8094" h="3634017">
                  <a:moveTo>
                    <a:pt x="0" y="0"/>
                  </a:moveTo>
                  <a:lnTo>
                    <a:pt x="12235852" y="0"/>
                  </a:lnTo>
                  <a:lnTo>
                    <a:pt x="12278094" y="704272"/>
                  </a:lnTo>
                  <a:lnTo>
                    <a:pt x="9225677" y="3634017"/>
                  </a:lnTo>
                  <a:lnTo>
                    <a:pt x="217963" y="3634017"/>
                  </a:lnTo>
                  <a:close/>
                </a:path>
              </a:pathLst>
            </a:custGeom>
            <a:solidFill>
              <a:schemeClr val="tx2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6" name="Forma libre: forma 75">
              <a:extLst>
                <a:ext uri="{FF2B5EF4-FFF2-40B4-BE49-F238E27FC236}">
                  <a16:creationId xmlns:a16="http://schemas.microsoft.com/office/drawing/2014/main" id="{10B557DF-579C-4277-88ED-14D5945A7ED2}"/>
                </a:ext>
              </a:extLst>
            </p:cNvPr>
            <p:cNvSpPr/>
            <p:nvPr userDrawn="1"/>
          </p:nvSpPr>
          <p:spPr>
            <a:xfrm rot="205944">
              <a:off x="-71162" y="4364568"/>
              <a:ext cx="11048355" cy="1867052"/>
            </a:xfrm>
            <a:custGeom>
              <a:avLst/>
              <a:gdLst>
                <a:gd name="connsiteX0" fmla="*/ 0 w 11048355"/>
                <a:gd name="connsiteY0" fmla="*/ 276268 h 1867052"/>
                <a:gd name="connsiteX1" fmla="*/ 11048355 w 11048355"/>
                <a:gd name="connsiteY1" fmla="*/ 0 h 1867052"/>
                <a:gd name="connsiteX2" fmla="*/ 9103128 w 11048355"/>
                <a:gd name="connsiteY2" fmla="*/ 1867052 h 1867052"/>
                <a:gd name="connsiteX3" fmla="*/ 95413 w 11048355"/>
                <a:gd name="connsiteY3" fmla="*/ 1867052 h 186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8355" h="1867052">
                  <a:moveTo>
                    <a:pt x="0" y="276268"/>
                  </a:moveTo>
                  <a:lnTo>
                    <a:pt x="11048355" y="0"/>
                  </a:lnTo>
                  <a:lnTo>
                    <a:pt x="9103128" y="1867052"/>
                  </a:lnTo>
                  <a:lnTo>
                    <a:pt x="95413" y="1867052"/>
                  </a:lnTo>
                  <a:close/>
                </a:path>
              </a:pathLst>
            </a:custGeom>
            <a:solidFill>
              <a:schemeClr val="tx2">
                <a:lumMod val="75000"/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1" name="Forma libre: forma 70">
              <a:extLst>
                <a:ext uri="{FF2B5EF4-FFF2-40B4-BE49-F238E27FC236}">
                  <a16:creationId xmlns:a16="http://schemas.microsoft.com/office/drawing/2014/main" id="{E8F23393-CAE4-4F78-84EF-F25CA498B5A4}"/>
                </a:ext>
              </a:extLst>
            </p:cNvPr>
            <p:cNvSpPr/>
            <p:nvPr userDrawn="1"/>
          </p:nvSpPr>
          <p:spPr>
            <a:xfrm rot="14737101">
              <a:off x="8032386" y="1818007"/>
              <a:ext cx="3494565" cy="6880934"/>
            </a:xfrm>
            <a:custGeom>
              <a:avLst/>
              <a:gdLst>
                <a:gd name="connsiteX0" fmla="*/ 3494565 w 3494565"/>
                <a:gd name="connsiteY0" fmla="*/ 6880934 h 6880934"/>
                <a:gd name="connsiteX1" fmla="*/ 0 w 3494565"/>
                <a:gd name="connsiteY1" fmla="*/ 5297078 h 6880934"/>
                <a:gd name="connsiteX2" fmla="*/ 1520034 w 3494565"/>
                <a:gd name="connsiteY2" fmla="*/ 0 h 688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94565" h="6880934">
                  <a:moveTo>
                    <a:pt x="3494565" y="6880934"/>
                  </a:moveTo>
                  <a:lnTo>
                    <a:pt x="0" y="5297078"/>
                  </a:lnTo>
                  <a:lnTo>
                    <a:pt x="1520034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/>
            </a:p>
          </p:txBody>
        </p:sp>
      </p:grp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512613" y="4425136"/>
            <a:ext cx="6351472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512613" y="5141053"/>
            <a:ext cx="6351291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512613" y="3043916"/>
            <a:ext cx="6351472" cy="12914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40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500879" y="4340060"/>
            <a:ext cx="638030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ángulo 20">
            <a:extLst>
              <a:ext uri="{FF2B5EF4-FFF2-40B4-BE49-F238E27FC236}">
                <a16:creationId xmlns:a16="http://schemas.microsoft.com/office/drawing/2014/main" id="{73DB7E21-719D-47E1-8B13-794284D86285}"/>
              </a:ext>
            </a:extLst>
          </p:cNvPr>
          <p:cNvSpPr/>
          <p:nvPr userDrawn="1"/>
        </p:nvSpPr>
        <p:spPr>
          <a:xfrm>
            <a:off x="1" y="6517050"/>
            <a:ext cx="1199456" cy="153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7AE3DE58-C360-4DDA-A7A0-433347328C75}"/>
              </a:ext>
            </a:extLst>
          </p:cNvPr>
          <p:cNvSpPr txBox="1"/>
          <p:nvPr userDrawn="1"/>
        </p:nvSpPr>
        <p:spPr>
          <a:xfrm>
            <a:off x="0" y="647078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TLP: AMBER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F2311A0B-EE84-49B3-8A7B-4EAECD2B8F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531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9497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o 3">
            <a:extLst>
              <a:ext uri="{FF2B5EF4-FFF2-40B4-BE49-F238E27FC236}">
                <a16:creationId xmlns:a16="http://schemas.microsoft.com/office/drawing/2014/main" id="{4CE3137C-CAB5-4BEE-A863-EEAFCFE3A5C6}"/>
              </a:ext>
            </a:extLst>
          </p:cNvPr>
          <p:cNvGrpSpPr/>
          <p:nvPr userDrawn="1"/>
        </p:nvGrpSpPr>
        <p:grpSpPr>
          <a:xfrm>
            <a:off x="-37395" y="-203492"/>
            <a:ext cx="12466559" cy="823688"/>
            <a:chOff x="-37395" y="-203492"/>
            <a:chExt cx="12466559" cy="823688"/>
          </a:xfrm>
        </p:grpSpPr>
        <p:sp>
          <p:nvSpPr>
            <p:cNvPr id="41" name="Forma libre: forma 40">
              <a:extLst>
                <a:ext uri="{FF2B5EF4-FFF2-40B4-BE49-F238E27FC236}">
                  <a16:creationId xmlns:a16="http://schemas.microsoft.com/office/drawing/2014/main" id="{AF6F07A7-7B1F-4991-8CB9-A3234572F24D}"/>
                </a:ext>
              </a:extLst>
            </p:cNvPr>
            <p:cNvSpPr/>
            <p:nvPr userDrawn="1"/>
          </p:nvSpPr>
          <p:spPr>
            <a:xfrm rot="10680000" flipH="1">
              <a:off x="-37395" y="-201403"/>
              <a:ext cx="11769147" cy="821599"/>
            </a:xfrm>
            <a:custGeom>
              <a:avLst/>
              <a:gdLst>
                <a:gd name="connsiteX0" fmla="*/ 28691 w 8826860"/>
                <a:gd name="connsiteY0" fmla="*/ 821599 h 821599"/>
                <a:gd name="connsiteX1" fmla="*/ 8826860 w 8826860"/>
                <a:gd name="connsiteY1" fmla="*/ 514360 h 821599"/>
                <a:gd name="connsiteX2" fmla="*/ 8826860 w 8826860"/>
                <a:gd name="connsiteY2" fmla="*/ 514359 h 821599"/>
                <a:gd name="connsiteX3" fmla="*/ 28691 w 8826860"/>
                <a:gd name="connsiteY3" fmla="*/ 821598 h 821599"/>
                <a:gd name="connsiteX4" fmla="*/ 8844 w 8826860"/>
                <a:gd name="connsiteY4" fmla="*/ 253241 h 821599"/>
                <a:gd name="connsiteX5" fmla="*/ 8292744 w 8826860"/>
                <a:gd name="connsiteY5" fmla="*/ 0 h 821599"/>
                <a:gd name="connsiteX6" fmla="*/ 0 w 8826860"/>
                <a:gd name="connsiteY6" fmla="*/ 0 h 8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26860" h="821599">
                  <a:moveTo>
                    <a:pt x="28691" y="821599"/>
                  </a:moveTo>
                  <a:lnTo>
                    <a:pt x="8826860" y="514360"/>
                  </a:lnTo>
                  <a:lnTo>
                    <a:pt x="8826860" y="514359"/>
                  </a:lnTo>
                  <a:lnTo>
                    <a:pt x="28691" y="821598"/>
                  </a:lnTo>
                  <a:lnTo>
                    <a:pt x="8844" y="253241"/>
                  </a:lnTo>
                  <a:lnTo>
                    <a:pt x="82927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40" name="Forma libre: forma 39">
              <a:extLst>
                <a:ext uri="{FF2B5EF4-FFF2-40B4-BE49-F238E27FC236}">
                  <a16:creationId xmlns:a16="http://schemas.microsoft.com/office/drawing/2014/main" id="{D757F954-3FA8-4895-94D3-2A3BF7120129}"/>
                </a:ext>
              </a:extLst>
            </p:cNvPr>
            <p:cNvSpPr/>
            <p:nvPr userDrawn="1"/>
          </p:nvSpPr>
          <p:spPr>
            <a:xfrm rot="10680000" flipH="1">
              <a:off x="-35056" y="-203492"/>
              <a:ext cx="11921631" cy="719153"/>
            </a:xfrm>
            <a:custGeom>
              <a:avLst/>
              <a:gdLst>
                <a:gd name="connsiteX0" fmla="*/ 4938008 w 8941223"/>
                <a:gd name="connsiteY0" fmla="*/ 0 h 719153"/>
                <a:gd name="connsiteX1" fmla="*/ 0 w 8941223"/>
                <a:gd name="connsiteY1" fmla="*/ 0 h 719153"/>
                <a:gd name="connsiteX2" fmla="*/ 5266 w 8941223"/>
                <a:gd name="connsiteY2" fmla="*/ 150795 h 719153"/>
                <a:gd name="connsiteX3" fmla="*/ 25113 w 8941223"/>
                <a:gd name="connsiteY3" fmla="*/ 719153 h 719153"/>
                <a:gd name="connsiteX4" fmla="*/ 8941223 w 8941223"/>
                <a:gd name="connsiteY4" fmla="*/ 407795 h 719153"/>
                <a:gd name="connsiteX5" fmla="*/ 8941223 w 8941223"/>
                <a:gd name="connsiteY5" fmla="*/ 407795 h 719153"/>
                <a:gd name="connsiteX6" fmla="*/ 25114 w 8941223"/>
                <a:gd name="connsiteY6" fmla="*/ 719152 h 719153"/>
                <a:gd name="connsiteX7" fmla="*/ 6637 w 8941223"/>
                <a:gd name="connsiteY7" fmla="*/ 190049 h 71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223" h="719153">
                  <a:moveTo>
                    <a:pt x="4938008" y="0"/>
                  </a:moveTo>
                  <a:lnTo>
                    <a:pt x="0" y="0"/>
                  </a:lnTo>
                  <a:lnTo>
                    <a:pt x="5266" y="150795"/>
                  </a:lnTo>
                  <a:close/>
                  <a:moveTo>
                    <a:pt x="25113" y="719153"/>
                  </a:moveTo>
                  <a:lnTo>
                    <a:pt x="8941223" y="407795"/>
                  </a:lnTo>
                  <a:lnTo>
                    <a:pt x="8941223" y="407795"/>
                  </a:lnTo>
                  <a:lnTo>
                    <a:pt x="25114" y="719152"/>
                  </a:lnTo>
                  <a:lnTo>
                    <a:pt x="6637" y="1900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 dirty="0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58AACA53-106B-4472-9D00-ECA91BC25551}"/>
                </a:ext>
              </a:extLst>
            </p:cNvPr>
            <p:cNvSpPr/>
            <p:nvPr userDrawn="1"/>
          </p:nvSpPr>
          <p:spPr>
            <a:xfrm rot="10785060" flipH="1">
              <a:off x="-16398" y="-19580"/>
              <a:ext cx="12019276" cy="568698"/>
            </a:xfrm>
            <a:custGeom>
              <a:avLst/>
              <a:gdLst>
                <a:gd name="connsiteX0" fmla="*/ 2472 w 9014457"/>
                <a:gd name="connsiteY0" fmla="*/ 568698 h 568698"/>
                <a:gd name="connsiteX1" fmla="*/ 9014457 w 9014457"/>
                <a:gd name="connsiteY1" fmla="*/ 529533 h 568698"/>
                <a:gd name="connsiteX2" fmla="*/ 8927788 w 9014457"/>
                <a:gd name="connsiteY2" fmla="*/ 0 h 568698"/>
                <a:gd name="connsiteX3" fmla="*/ 0 w 9014457"/>
                <a:gd name="connsiteY3" fmla="*/ 0 h 56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4457" h="568698">
                  <a:moveTo>
                    <a:pt x="2472" y="568698"/>
                  </a:moveTo>
                  <a:lnTo>
                    <a:pt x="9014457" y="529533"/>
                  </a:lnTo>
                  <a:lnTo>
                    <a:pt x="892778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75000"/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37" name="Forma libre: forma 36">
              <a:extLst>
                <a:ext uri="{FF2B5EF4-FFF2-40B4-BE49-F238E27FC236}">
                  <a16:creationId xmlns:a16="http://schemas.microsoft.com/office/drawing/2014/main" id="{45145C93-3CB9-42B5-AB02-012CAD888E4C}"/>
                </a:ext>
              </a:extLst>
            </p:cNvPr>
            <p:cNvSpPr/>
            <p:nvPr userDrawn="1"/>
          </p:nvSpPr>
          <p:spPr>
            <a:xfrm rot="10785060" flipH="1">
              <a:off x="-15394" y="-19581"/>
              <a:ext cx="12017491" cy="299631"/>
            </a:xfrm>
            <a:custGeom>
              <a:avLst/>
              <a:gdLst>
                <a:gd name="connsiteX0" fmla="*/ 9013118 w 9013118"/>
                <a:gd name="connsiteY0" fmla="*/ 260466 h 299631"/>
                <a:gd name="connsiteX1" fmla="*/ 8970488 w 9013118"/>
                <a:gd name="connsiteY1" fmla="*/ 0 h 299631"/>
                <a:gd name="connsiteX2" fmla="*/ 0 w 9013118"/>
                <a:gd name="connsiteY2" fmla="*/ 38985 h 299631"/>
                <a:gd name="connsiteX3" fmla="*/ 1133 w 9013118"/>
                <a:gd name="connsiteY3" fmla="*/ 299631 h 29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3118" h="299631">
                  <a:moveTo>
                    <a:pt x="9013118" y="260466"/>
                  </a:moveTo>
                  <a:lnTo>
                    <a:pt x="8970488" y="0"/>
                  </a:lnTo>
                  <a:lnTo>
                    <a:pt x="0" y="38985"/>
                  </a:lnTo>
                  <a:lnTo>
                    <a:pt x="1133" y="299631"/>
                  </a:lnTo>
                  <a:close/>
                </a:path>
              </a:pathLst>
            </a:custGeom>
            <a:solidFill>
              <a:schemeClr val="tx2"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8DC864CB-A5C8-4EC4-B979-34D240059495}"/>
                </a:ext>
              </a:extLst>
            </p:cNvPr>
            <p:cNvSpPr/>
            <p:nvPr userDrawn="1"/>
          </p:nvSpPr>
          <p:spPr>
            <a:xfrm rot="17863205" flipH="1">
              <a:off x="11436651" y="-471479"/>
              <a:ext cx="703535" cy="1281491"/>
            </a:xfrm>
            <a:custGeom>
              <a:avLst/>
              <a:gdLst>
                <a:gd name="connsiteX0" fmla="*/ 0 w 703535"/>
                <a:gd name="connsiteY0" fmla="*/ 911812 h 1281491"/>
                <a:gd name="connsiteX1" fmla="*/ 703535 w 703535"/>
                <a:gd name="connsiteY1" fmla="*/ 1281491 h 1281491"/>
                <a:gd name="connsiteX2" fmla="*/ 479120 w 703535"/>
                <a:gd name="connsiteY2" fmla="*/ 0 h 1281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3535" h="1281491">
                  <a:moveTo>
                    <a:pt x="0" y="911812"/>
                  </a:moveTo>
                  <a:lnTo>
                    <a:pt x="703535" y="1281491"/>
                  </a:lnTo>
                  <a:lnTo>
                    <a:pt x="47912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E41EB61-ADCB-48F2-A475-D213E7A5BBA3}"/>
              </a:ext>
            </a:extLst>
          </p:cNvPr>
          <p:cNvSpPr/>
          <p:nvPr userDrawn="1"/>
        </p:nvSpPr>
        <p:spPr>
          <a:xfrm>
            <a:off x="1" y="6517050"/>
            <a:ext cx="1199456" cy="153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BF0EA6D4-DF98-4CB6-8F9D-40A266889CEC}"/>
              </a:ext>
            </a:extLst>
          </p:cNvPr>
          <p:cNvSpPr txBox="1"/>
          <p:nvPr userDrawn="1"/>
        </p:nvSpPr>
        <p:spPr>
          <a:xfrm>
            <a:off x="0" y="647078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TLP: AMBER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9D9C2CC1-A633-4857-9C93-5EAB3572460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531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784624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6EDBEBC3-AA94-4127-A2CD-D33D9A9E9354}"/>
              </a:ext>
            </a:extLst>
          </p:cNvPr>
          <p:cNvGrpSpPr/>
          <p:nvPr userDrawn="1"/>
        </p:nvGrpSpPr>
        <p:grpSpPr>
          <a:xfrm>
            <a:off x="-37395" y="-203492"/>
            <a:ext cx="12466559" cy="823688"/>
            <a:chOff x="-37395" y="-203492"/>
            <a:chExt cx="12466559" cy="823688"/>
          </a:xfrm>
        </p:grpSpPr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743165F7-BB05-4A34-98D8-66D4628AC840}"/>
                </a:ext>
              </a:extLst>
            </p:cNvPr>
            <p:cNvSpPr/>
            <p:nvPr userDrawn="1"/>
          </p:nvSpPr>
          <p:spPr>
            <a:xfrm rot="10680000" flipH="1">
              <a:off x="-37395" y="-201403"/>
              <a:ext cx="11769147" cy="821599"/>
            </a:xfrm>
            <a:custGeom>
              <a:avLst/>
              <a:gdLst>
                <a:gd name="connsiteX0" fmla="*/ 28691 w 8826860"/>
                <a:gd name="connsiteY0" fmla="*/ 821599 h 821599"/>
                <a:gd name="connsiteX1" fmla="*/ 8826860 w 8826860"/>
                <a:gd name="connsiteY1" fmla="*/ 514360 h 821599"/>
                <a:gd name="connsiteX2" fmla="*/ 8826860 w 8826860"/>
                <a:gd name="connsiteY2" fmla="*/ 514359 h 821599"/>
                <a:gd name="connsiteX3" fmla="*/ 28691 w 8826860"/>
                <a:gd name="connsiteY3" fmla="*/ 821598 h 821599"/>
                <a:gd name="connsiteX4" fmla="*/ 8844 w 8826860"/>
                <a:gd name="connsiteY4" fmla="*/ 253241 h 821599"/>
                <a:gd name="connsiteX5" fmla="*/ 8292744 w 8826860"/>
                <a:gd name="connsiteY5" fmla="*/ 0 h 821599"/>
                <a:gd name="connsiteX6" fmla="*/ 0 w 8826860"/>
                <a:gd name="connsiteY6" fmla="*/ 0 h 8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26860" h="821599">
                  <a:moveTo>
                    <a:pt x="28691" y="821599"/>
                  </a:moveTo>
                  <a:lnTo>
                    <a:pt x="8826860" y="514360"/>
                  </a:lnTo>
                  <a:lnTo>
                    <a:pt x="8826860" y="514359"/>
                  </a:lnTo>
                  <a:lnTo>
                    <a:pt x="28691" y="821598"/>
                  </a:lnTo>
                  <a:lnTo>
                    <a:pt x="8844" y="253241"/>
                  </a:lnTo>
                  <a:lnTo>
                    <a:pt x="82927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AAC369FB-5553-403E-8D90-DAD300AB8DD2}"/>
                </a:ext>
              </a:extLst>
            </p:cNvPr>
            <p:cNvSpPr/>
            <p:nvPr userDrawn="1"/>
          </p:nvSpPr>
          <p:spPr>
            <a:xfrm rot="10680000" flipH="1">
              <a:off x="-35056" y="-203492"/>
              <a:ext cx="11921631" cy="719153"/>
            </a:xfrm>
            <a:custGeom>
              <a:avLst/>
              <a:gdLst>
                <a:gd name="connsiteX0" fmla="*/ 4938008 w 8941223"/>
                <a:gd name="connsiteY0" fmla="*/ 0 h 719153"/>
                <a:gd name="connsiteX1" fmla="*/ 0 w 8941223"/>
                <a:gd name="connsiteY1" fmla="*/ 0 h 719153"/>
                <a:gd name="connsiteX2" fmla="*/ 5266 w 8941223"/>
                <a:gd name="connsiteY2" fmla="*/ 150795 h 719153"/>
                <a:gd name="connsiteX3" fmla="*/ 25113 w 8941223"/>
                <a:gd name="connsiteY3" fmla="*/ 719153 h 719153"/>
                <a:gd name="connsiteX4" fmla="*/ 8941223 w 8941223"/>
                <a:gd name="connsiteY4" fmla="*/ 407795 h 719153"/>
                <a:gd name="connsiteX5" fmla="*/ 8941223 w 8941223"/>
                <a:gd name="connsiteY5" fmla="*/ 407795 h 719153"/>
                <a:gd name="connsiteX6" fmla="*/ 25114 w 8941223"/>
                <a:gd name="connsiteY6" fmla="*/ 719152 h 719153"/>
                <a:gd name="connsiteX7" fmla="*/ 6637 w 8941223"/>
                <a:gd name="connsiteY7" fmla="*/ 190049 h 71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223" h="719153">
                  <a:moveTo>
                    <a:pt x="4938008" y="0"/>
                  </a:moveTo>
                  <a:lnTo>
                    <a:pt x="0" y="0"/>
                  </a:lnTo>
                  <a:lnTo>
                    <a:pt x="5266" y="150795"/>
                  </a:lnTo>
                  <a:close/>
                  <a:moveTo>
                    <a:pt x="25113" y="719153"/>
                  </a:moveTo>
                  <a:lnTo>
                    <a:pt x="8941223" y="407795"/>
                  </a:lnTo>
                  <a:lnTo>
                    <a:pt x="8941223" y="407795"/>
                  </a:lnTo>
                  <a:lnTo>
                    <a:pt x="25114" y="719152"/>
                  </a:lnTo>
                  <a:lnTo>
                    <a:pt x="6637" y="1900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 dirty="0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799E4837-0DC6-45A7-A1D7-F6A7A53BE8A5}"/>
                </a:ext>
              </a:extLst>
            </p:cNvPr>
            <p:cNvSpPr/>
            <p:nvPr userDrawn="1"/>
          </p:nvSpPr>
          <p:spPr>
            <a:xfrm rot="10785060" flipH="1">
              <a:off x="-16398" y="-19580"/>
              <a:ext cx="12019276" cy="568698"/>
            </a:xfrm>
            <a:custGeom>
              <a:avLst/>
              <a:gdLst>
                <a:gd name="connsiteX0" fmla="*/ 2472 w 9014457"/>
                <a:gd name="connsiteY0" fmla="*/ 568698 h 568698"/>
                <a:gd name="connsiteX1" fmla="*/ 9014457 w 9014457"/>
                <a:gd name="connsiteY1" fmla="*/ 529533 h 568698"/>
                <a:gd name="connsiteX2" fmla="*/ 8927788 w 9014457"/>
                <a:gd name="connsiteY2" fmla="*/ 0 h 568698"/>
                <a:gd name="connsiteX3" fmla="*/ 0 w 9014457"/>
                <a:gd name="connsiteY3" fmla="*/ 0 h 56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4457" h="568698">
                  <a:moveTo>
                    <a:pt x="2472" y="568698"/>
                  </a:moveTo>
                  <a:lnTo>
                    <a:pt x="9014457" y="529533"/>
                  </a:lnTo>
                  <a:lnTo>
                    <a:pt x="892778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75000"/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97D27C6F-74B9-4009-82E9-78EB6172C6C4}"/>
                </a:ext>
              </a:extLst>
            </p:cNvPr>
            <p:cNvSpPr/>
            <p:nvPr userDrawn="1"/>
          </p:nvSpPr>
          <p:spPr>
            <a:xfrm rot="10785060" flipH="1">
              <a:off x="-15394" y="-19581"/>
              <a:ext cx="12017491" cy="299631"/>
            </a:xfrm>
            <a:custGeom>
              <a:avLst/>
              <a:gdLst>
                <a:gd name="connsiteX0" fmla="*/ 9013118 w 9013118"/>
                <a:gd name="connsiteY0" fmla="*/ 260466 h 299631"/>
                <a:gd name="connsiteX1" fmla="*/ 8970488 w 9013118"/>
                <a:gd name="connsiteY1" fmla="*/ 0 h 299631"/>
                <a:gd name="connsiteX2" fmla="*/ 0 w 9013118"/>
                <a:gd name="connsiteY2" fmla="*/ 38985 h 299631"/>
                <a:gd name="connsiteX3" fmla="*/ 1133 w 9013118"/>
                <a:gd name="connsiteY3" fmla="*/ 299631 h 29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3118" h="299631">
                  <a:moveTo>
                    <a:pt x="9013118" y="260466"/>
                  </a:moveTo>
                  <a:lnTo>
                    <a:pt x="8970488" y="0"/>
                  </a:lnTo>
                  <a:lnTo>
                    <a:pt x="0" y="38985"/>
                  </a:lnTo>
                  <a:lnTo>
                    <a:pt x="1133" y="299631"/>
                  </a:lnTo>
                  <a:close/>
                </a:path>
              </a:pathLst>
            </a:custGeom>
            <a:solidFill>
              <a:schemeClr val="tx2"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C033419C-5A3F-43D1-9203-E66870F81549}"/>
                </a:ext>
              </a:extLst>
            </p:cNvPr>
            <p:cNvSpPr/>
            <p:nvPr userDrawn="1"/>
          </p:nvSpPr>
          <p:spPr>
            <a:xfrm rot="17863205" flipH="1">
              <a:off x="11436651" y="-471479"/>
              <a:ext cx="703535" cy="1281491"/>
            </a:xfrm>
            <a:custGeom>
              <a:avLst/>
              <a:gdLst>
                <a:gd name="connsiteX0" fmla="*/ 0 w 703535"/>
                <a:gd name="connsiteY0" fmla="*/ 911812 h 1281491"/>
                <a:gd name="connsiteX1" fmla="*/ 703535 w 703535"/>
                <a:gd name="connsiteY1" fmla="*/ 1281491 h 1281491"/>
                <a:gd name="connsiteX2" fmla="*/ 479120 w 703535"/>
                <a:gd name="connsiteY2" fmla="*/ 0 h 1281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3535" h="1281491">
                  <a:moveTo>
                    <a:pt x="0" y="911812"/>
                  </a:moveTo>
                  <a:lnTo>
                    <a:pt x="703535" y="1281491"/>
                  </a:lnTo>
                  <a:lnTo>
                    <a:pt x="47912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827" y="1916832"/>
            <a:ext cx="11113572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68827" y="935464"/>
            <a:ext cx="11113572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513" y="-274036"/>
            <a:ext cx="11820163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9521" y="6356358"/>
            <a:ext cx="3081867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5E22F0B-B3CF-466E-A0A9-225212E816FA}"/>
              </a:ext>
            </a:extLst>
          </p:cNvPr>
          <p:cNvSpPr/>
          <p:nvPr userDrawn="1"/>
        </p:nvSpPr>
        <p:spPr>
          <a:xfrm>
            <a:off x="1" y="6517050"/>
            <a:ext cx="1199456" cy="153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F07A5F2-325C-4BCC-ABAD-D92D834B7017}"/>
              </a:ext>
            </a:extLst>
          </p:cNvPr>
          <p:cNvSpPr txBox="1"/>
          <p:nvPr userDrawn="1"/>
        </p:nvSpPr>
        <p:spPr>
          <a:xfrm>
            <a:off x="0" y="647078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TLP: AMBER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C834DE44-7449-49A6-81A7-9CF5CC822D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531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74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6EDBEBC3-AA94-4127-A2CD-D33D9A9E9354}"/>
              </a:ext>
            </a:extLst>
          </p:cNvPr>
          <p:cNvGrpSpPr/>
          <p:nvPr userDrawn="1"/>
        </p:nvGrpSpPr>
        <p:grpSpPr>
          <a:xfrm>
            <a:off x="-37395" y="-203492"/>
            <a:ext cx="12466559" cy="823688"/>
            <a:chOff x="-37395" y="-203492"/>
            <a:chExt cx="12466559" cy="823688"/>
          </a:xfrm>
        </p:grpSpPr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743165F7-BB05-4A34-98D8-66D4628AC840}"/>
                </a:ext>
              </a:extLst>
            </p:cNvPr>
            <p:cNvSpPr/>
            <p:nvPr userDrawn="1"/>
          </p:nvSpPr>
          <p:spPr>
            <a:xfrm rot="10680000" flipH="1">
              <a:off x="-37395" y="-201403"/>
              <a:ext cx="11769147" cy="821599"/>
            </a:xfrm>
            <a:custGeom>
              <a:avLst/>
              <a:gdLst>
                <a:gd name="connsiteX0" fmla="*/ 28691 w 8826860"/>
                <a:gd name="connsiteY0" fmla="*/ 821599 h 821599"/>
                <a:gd name="connsiteX1" fmla="*/ 8826860 w 8826860"/>
                <a:gd name="connsiteY1" fmla="*/ 514360 h 821599"/>
                <a:gd name="connsiteX2" fmla="*/ 8826860 w 8826860"/>
                <a:gd name="connsiteY2" fmla="*/ 514359 h 821599"/>
                <a:gd name="connsiteX3" fmla="*/ 28691 w 8826860"/>
                <a:gd name="connsiteY3" fmla="*/ 821598 h 821599"/>
                <a:gd name="connsiteX4" fmla="*/ 8844 w 8826860"/>
                <a:gd name="connsiteY4" fmla="*/ 253241 h 821599"/>
                <a:gd name="connsiteX5" fmla="*/ 8292744 w 8826860"/>
                <a:gd name="connsiteY5" fmla="*/ 0 h 821599"/>
                <a:gd name="connsiteX6" fmla="*/ 0 w 8826860"/>
                <a:gd name="connsiteY6" fmla="*/ 0 h 82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26860" h="821599">
                  <a:moveTo>
                    <a:pt x="28691" y="821599"/>
                  </a:moveTo>
                  <a:lnTo>
                    <a:pt x="8826860" y="514360"/>
                  </a:lnTo>
                  <a:lnTo>
                    <a:pt x="8826860" y="514359"/>
                  </a:lnTo>
                  <a:lnTo>
                    <a:pt x="28691" y="821598"/>
                  </a:lnTo>
                  <a:lnTo>
                    <a:pt x="8844" y="253241"/>
                  </a:lnTo>
                  <a:lnTo>
                    <a:pt x="82927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3" name="Forma libre: forma 22">
              <a:extLst>
                <a:ext uri="{FF2B5EF4-FFF2-40B4-BE49-F238E27FC236}">
                  <a16:creationId xmlns:a16="http://schemas.microsoft.com/office/drawing/2014/main" id="{AAC369FB-5553-403E-8D90-DAD300AB8DD2}"/>
                </a:ext>
              </a:extLst>
            </p:cNvPr>
            <p:cNvSpPr/>
            <p:nvPr userDrawn="1"/>
          </p:nvSpPr>
          <p:spPr>
            <a:xfrm rot="10680000" flipH="1">
              <a:off x="-35056" y="-203492"/>
              <a:ext cx="11921631" cy="719153"/>
            </a:xfrm>
            <a:custGeom>
              <a:avLst/>
              <a:gdLst>
                <a:gd name="connsiteX0" fmla="*/ 4938008 w 8941223"/>
                <a:gd name="connsiteY0" fmla="*/ 0 h 719153"/>
                <a:gd name="connsiteX1" fmla="*/ 0 w 8941223"/>
                <a:gd name="connsiteY1" fmla="*/ 0 h 719153"/>
                <a:gd name="connsiteX2" fmla="*/ 5266 w 8941223"/>
                <a:gd name="connsiteY2" fmla="*/ 150795 h 719153"/>
                <a:gd name="connsiteX3" fmla="*/ 25113 w 8941223"/>
                <a:gd name="connsiteY3" fmla="*/ 719153 h 719153"/>
                <a:gd name="connsiteX4" fmla="*/ 8941223 w 8941223"/>
                <a:gd name="connsiteY4" fmla="*/ 407795 h 719153"/>
                <a:gd name="connsiteX5" fmla="*/ 8941223 w 8941223"/>
                <a:gd name="connsiteY5" fmla="*/ 407795 h 719153"/>
                <a:gd name="connsiteX6" fmla="*/ 25114 w 8941223"/>
                <a:gd name="connsiteY6" fmla="*/ 719152 h 719153"/>
                <a:gd name="connsiteX7" fmla="*/ 6637 w 8941223"/>
                <a:gd name="connsiteY7" fmla="*/ 190049 h 71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223" h="719153">
                  <a:moveTo>
                    <a:pt x="4938008" y="0"/>
                  </a:moveTo>
                  <a:lnTo>
                    <a:pt x="0" y="0"/>
                  </a:lnTo>
                  <a:lnTo>
                    <a:pt x="5266" y="150795"/>
                  </a:lnTo>
                  <a:close/>
                  <a:moveTo>
                    <a:pt x="25113" y="719153"/>
                  </a:moveTo>
                  <a:lnTo>
                    <a:pt x="8941223" y="407795"/>
                  </a:lnTo>
                  <a:lnTo>
                    <a:pt x="8941223" y="407795"/>
                  </a:lnTo>
                  <a:lnTo>
                    <a:pt x="25114" y="719152"/>
                  </a:lnTo>
                  <a:lnTo>
                    <a:pt x="6637" y="1900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 dirty="0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id="{799E4837-0DC6-45A7-A1D7-F6A7A53BE8A5}"/>
                </a:ext>
              </a:extLst>
            </p:cNvPr>
            <p:cNvSpPr/>
            <p:nvPr userDrawn="1"/>
          </p:nvSpPr>
          <p:spPr>
            <a:xfrm rot="10785060" flipH="1">
              <a:off x="-16398" y="-19580"/>
              <a:ext cx="12019276" cy="568698"/>
            </a:xfrm>
            <a:custGeom>
              <a:avLst/>
              <a:gdLst>
                <a:gd name="connsiteX0" fmla="*/ 2472 w 9014457"/>
                <a:gd name="connsiteY0" fmla="*/ 568698 h 568698"/>
                <a:gd name="connsiteX1" fmla="*/ 9014457 w 9014457"/>
                <a:gd name="connsiteY1" fmla="*/ 529533 h 568698"/>
                <a:gd name="connsiteX2" fmla="*/ 8927788 w 9014457"/>
                <a:gd name="connsiteY2" fmla="*/ 0 h 568698"/>
                <a:gd name="connsiteX3" fmla="*/ 0 w 9014457"/>
                <a:gd name="connsiteY3" fmla="*/ 0 h 56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4457" h="568698">
                  <a:moveTo>
                    <a:pt x="2472" y="568698"/>
                  </a:moveTo>
                  <a:lnTo>
                    <a:pt x="9014457" y="529533"/>
                  </a:lnTo>
                  <a:lnTo>
                    <a:pt x="892778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75000"/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97D27C6F-74B9-4009-82E9-78EB6172C6C4}"/>
                </a:ext>
              </a:extLst>
            </p:cNvPr>
            <p:cNvSpPr/>
            <p:nvPr userDrawn="1"/>
          </p:nvSpPr>
          <p:spPr>
            <a:xfrm rot="10785060" flipH="1">
              <a:off x="-15394" y="-19581"/>
              <a:ext cx="12017491" cy="299631"/>
            </a:xfrm>
            <a:custGeom>
              <a:avLst/>
              <a:gdLst>
                <a:gd name="connsiteX0" fmla="*/ 9013118 w 9013118"/>
                <a:gd name="connsiteY0" fmla="*/ 260466 h 299631"/>
                <a:gd name="connsiteX1" fmla="*/ 8970488 w 9013118"/>
                <a:gd name="connsiteY1" fmla="*/ 0 h 299631"/>
                <a:gd name="connsiteX2" fmla="*/ 0 w 9013118"/>
                <a:gd name="connsiteY2" fmla="*/ 38985 h 299631"/>
                <a:gd name="connsiteX3" fmla="*/ 1133 w 9013118"/>
                <a:gd name="connsiteY3" fmla="*/ 299631 h 29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13118" h="299631">
                  <a:moveTo>
                    <a:pt x="9013118" y="260466"/>
                  </a:moveTo>
                  <a:lnTo>
                    <a:pt x="8970488" y="0"/>
                  </a:lnTo>
                  <a:lnTo>
                    <a:pt x="0" y="38985"/>
                  </a:lnTo>
                  <a:lnTo>
                    <a:pt x="1133" y="299631"/>
                  </a:lnTo>
                  <a:close/>
                </a:path>
              </a:pathLst>
            </a:custGeom>
            <a:solidFill>
              <a:schemeClr val="tx2"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C033419C-5A3F-43D1-9203-E66870F81549}"/>
                </a:ext>
              </a:extLst>
            </p:cNvPr>
            <p:cNvSpPr/>
            <p:nvPr userDrawn="1"/>
          </p:nvSpPr>
          <p:spPr>
            <a:xfrm rot="17863205" flipH="1">
              <a:off x="11436651" y="-471479"/>
              <a:ext cx="703535" cy="1281491"/>
            </a:xfrm>
            <a:custGeom>
              <a:avLst/>
              <a:gdLst>
                <a:gd name="connsiteX0" fmla="*/ 0 w 703535"/>
                <a:gd name="connsiteY0" fmla="*/ 911812 h 1281491"/>
                <a:gd name="connsiteX1" fmla="*/ 703535 w 703535"/>
                <a:gd name="connsiteY1" fmla="*/ 1281491 h 1281491"/>
                <a:gd name="connsiteX2" fmla="*/ 479120 w 703535"/>
                <a:gd name="connsiteY2" fmla="*/ 0 h 1281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3535" h="1281491">
                  <a:moveTo>
                    <a:pt x="0" y="911812"/>
                  </a:moveTo>
                  <a:lnTo>
                    <a:pt x="703535" y="1281491"/>
                  </a:lnTo>
                  <a:lnTo>
                    <a:pt x="47912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ES" sz="1800"/>
            </a:p>
          </p:txBody>
        </p:sp>
      </p:grp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827" y="1916832"/>
            <a:ext cx="5483157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68827" y="935464"/>
            <a:ext cx="11113572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513" y="-274036"/>
            <a:ext cx="11820163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9521" y="6356358"/>
            <a:ext cx="3081867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5E22F0B-B3CF-466E-A0A9-225212E816FA}"/>
              </a:ext>
            </a:extLst>
          </p:cNvPr>
          <p:cNvSpPr/>
          <p:nvPr userDrawn="1"/>
        </p:nvSpPr>
        <p:spPr>
          <a:xfrm>
            <a:off x="1" y="6517050"/>
            <a:ext cx="1199456" cy="153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F07A5F2-325C-4BCC-ABAD-D92D834B7017}"/>
              </a:ext>
            </a:extLst>
          </p:cNvPr>
          <p:cNvSpPr txBox="1"/>
          <p:nvPr userDrawn="1"/>
        </p:nvSpPr>
        <p:spPr>
          <a:xfrm>
            <a:off x="0" y="647078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TLP: AMBER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C834DE44-7449-49A6-81A7-9CF5CC822D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531" y="6270695"/>
            <a:ext cx="2829629" cy="471604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FFD4E93-B7A4-4083-A0C1-F40ABBBC6F9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40016" y="1924739"/>
            <a:ext cx="5483157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3560071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554338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Forma libre: forma 55">
            <a:extLst>
              <a:ext uri="{FF2B5EF4-FFF2-40B4-BE49-F238E27FC236}">
                <a16:creationId xmlns:a16="http://schemas.microsoft.com/office/drawing/2014/main" id="{36ED2AF5-606C-4BE9-8AB6-2A7CA169D658}"/>
              </a:ext>
            </a:extLst>
          </p:cNvPr>
          <p:cNvSpPr/>
          <p:nvPr userDrawn="1"/>
        </p:nvSpPr>
        <p:spPr>
          <a:xfrm rot="2653743">
            <a:off x="4559202" y="3004483"/>
            <a:ext cx="9131122" cy="523448"/>
          </a:xfrm>
          <a:custGeom>
            <a:avLst/>
            <a:gdLst>
              <a:gd name="connsiteX0" fmla="*/ 1281653 w 9131122"/>
              <a:gd name="connsiteY0" fmla="*/ 0 h 523448"/>
              <a:gd name="connsiteX1" fmla="*/ 8621574 w 9131122"/>
              <a:gd name="connsiteY1" fmla="*/ 0 h 523448"/>
              <a:gd name="connsiteX2" fmla="*/ 8834668 w 9131122"/>
              <a:gd name="connsiteY2" fmla="*/ 218907 h 523448"/>
              <a:gd name="connsiteX3" fmla="*/ 0 w 9131122"/>
              <a:gd name="connsiteY3" fmla="*/ 0 h 523448"/>
              <a:gd name="connsiteX4" fmla="*/ 16 w 9131122"/>
              <a:gd name="connsiteY4" fmla="*/ 0 h 523448"/>
              <a:gd name="connsiteX5" fmla="*/ 9131122 w 9131122"/>
              <a:gd name="connsiteY5" fmla="*/ 523448 h 52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31122" h="523448">
                <a:moveTo>
                  <a:pt x="1281653" y="0"/>
                </a:moveTo>
                <a:lnTo>
                  <a:pt x="8621574" y="0"/>
                </a:lnTo>
                <a:lnTo>
                  <a:pt x="8834668" y="218907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9131122" y="523448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55" name="Forma libre: forma 54">
            <a:extLst>
              <a:ext uri="{FF2B5EF4-FFF2-40B4-BE49-F238E27FC236}">
                <a16:creationId xmlns:a16="http://schemas.microsoft.com/office/drawing/2014/main" id="{E5C5FAFA-243E-4C2A-B1E3-06152F00BA9B}"/>
              </a:ext>
            </a:extLst>
          </p:cNvPr>
          <p:cNvSpPr/>
          <p:nvPr userDrawn="1"/>
        </p:nvSpPr>
        <p:spPr>
          <a:xfrm rot="2753350">
            <a:off x="4688654" y="3156932"/>
            <a:ext cx="8998841" cy="295825"/>
          </a:xfrm>
          <a:custGeom>
            <a:avLst/>
            <a:gdLst>
              <a:gd name="connsiteX0" fmla="*/ 39933 w 8998841"/>
              <a:gd name="connsiteY0" fmla="*/ 0 h 295825"/>
              <a:gd name="connsiteX1" fmla="*/ 8693689 w 8998841"/>
              <a:gd name="connsiteY1" fmla="*/ 1 h 295825"/>
              <a:gd name="connsiteX2" fmla="*/ 8998841 w 8998841"/>
              <a:gd name="connsiteY2" fmla="*/ 295825 h 295825"/>
              <a:gd name="connsiteX3" fmla="*/ 0 w 8998841"/>
              <a:gd name="connsiteY3" fmla="*/ 41193 h 29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8841" h="295825">
                <a:moveTo>
                  <a:pt x="39933" y="0"/>
                </a:moveTo>
                <a:lnTo>
                  <a:pt x="8693689" y="1"/>
                </a:lnTo>
                <a:lnTo>
                  <a:pt x="8998841" y="295825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54" name="Forma libre: forma 53">
            <a:extLst>
              <a:ext uri="{FF2B5EF4-FFF2-40B4-BE49-F238E27FC236}">
                <a16:creationId xmlns:a16="http://schemas.microsoft.com/office/drawing/2014/main" id="{D6FCDE83-0B75-41EF-BDB2-2D6215F56D27}"/>
              </a:ext>
            </a:extLst>
          </p:cNvPr>
          <p:cNvSpPr/>
          <p:nvPr userDrawn="1"/>
        </p:nvSpPr>
        <p:spPr>
          <a:xfrm rot="2850599">
            <a:off x="-1508726" y="670206"/>
            <a:ext cx="13321729" cy="7246564"/>
          </a:xfrm>
          <a:custGeom>
            <a:avLst/>
            <a:gdLst>
              <a:gd name="connsiteX0" fmla="*/ 0 w 13321729"/>
              <a:gd name="connsiteY0" fmla="*/ 4538508 h 7246564"/>
              <a:gd name="connsiteX1" fmla="*/ 4157322 w 13321729"/>
              <a:gd name="connsiteY1" fmla="*/ 0 h 7246564"/>
              <a:gd name="connsiteX2" fmla="*/ 13159765 w 13321729"/>
              <a:gd name="connsiteY2" fmla="*/ 0 h 7246564"/>
              <a:gd name="connsiteX3" fmla="*/ 13321729 w 13321729"/>
              <a:gd name="connsiteY3" fmla="*/ 148360 h 7246564"/>
              <a:gd name="connsiteX4" fmla="*/ 6819699 w 13321729"/>
              <a:gd name="connsiteY4" fmla="*/ 7246564 h 7246564"/>
              <a:gd name="connsiteX5" fmla="*/ 2956357 w 13321729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21729" h="7246564">
                <a:moveTo>
                  <a:pt x="0" y="4538508"/>
                </a:moveTo>
                <a:lnTo>
                  <a:pt x="4157322" y="0"/>
                </a:lnTo>
                <a:lnTo>
                  <a:pt x="13159765" y="0"/>
                </a:lnTo>
                <a:lnTo>
                  <a:pt x="13321729" y="148360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53" name="Forma libre: forma 52">
            <a:extLst>
              <a:ext uri="{FF2B5EF4-FFF2-40B4-BE49-F238E27FC236}">
                <a16:creationId xmlns:a16="http://schemas.microsoft.com/office/drawing/2014/main" id="{1043442E-5BEE-4D9A-A963-1272DC224B47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19624" y="6309325"/>
            <a:ext cx="480053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36600DB3-93DB-4A37-88C7-08975AFFFD4A}"/>
              </a:ext>
            </a:extLst>
          </p:cNvPr>
          <p:cNvSpPr/>
          <p:nvPr userDrawn="1"/>
        </p:nvSpPr>
        <p:spPr>
          <a:xfrm>
            <a:off x="1" y="6517050"/>
            <a:ext cx="1199456" cy="153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F592FA1D-E397-490A-AE57-7FF6EDED4CC6}"/>
              </a:ext>
            </a:extLst>
          </p:cNvPr>
          <p:cNvSpPr txBox="1"/>
          <p:nvPr userDrawn="1"/>
        </p:nvSpPr>
        <p:spPr>
          <a:xfrm>
            <a:off x="0" y="647078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TLP: AMBE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702EE27-3A5B-4CB2-AF2B-8CABE34B57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531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2956041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22" r:id="rId4"/>
    <p:sldLayoutId id="2147483716" r:id="rId5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2F8C3C2-0521-4B47-99EF-B9F98F4584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77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2F8C3C2-0521-4B47-99EF-B9F98F458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4EAE70F-436E-4BC8-AA7D-2767AF4952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 dirty="0"/>
              <a:t>Aplicaciones de Negocio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98CA1C1F-04A5-4F94-9B57-A702BCE57B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Marzo 2022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B6CE4209-A8CA-429E-B772-06AA35B61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612" y="3043916"/>
            <a:ext cx="7095555" cy="1291486"/>
          </a:xfrm>
        </p:spPr>
        <p:txBody>
          <a:bodyPr>
            <a:normAutofit/>
          </a:bodyPr>
          <a:lstStyle/>
          <a:p>
            <a:r>
              <a:rPr lang="es-ES" dirty="0"/>
              <a:t>Centro de Productos Procesales</a:t>
            </a:r>
          </a:p>
        </p:txBody>
      </p:sp>
    </p:spTree>
    <p:extLst>
      <p:ext uri="{BB962C8B-B14F-4D97-AF65-F5344CB8AC3E}">
        <p14:creationId xmlns:p14="http://schemas.microsoft.com/office/powerpoint/2010/main" val="2682960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xpedientes de Protección de Menores (EPM)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2</a:t>
            </a:fld>
            <a:endParaRPr lang="es-ES" dirty="0"/>
          </a:p>
        </p:txBody>
      </p:sp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32" y="908720"/>
            <a:ext cx="11113572" cy="496855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dirty="0"/>
              <a:t>Esta aplicación permite el registro de la actividad relativa a ‘Protección de Menores’ en la sección de menores de las Fiscalías Territoriales y en la propia Fiscalía de Sala, tanto la relativa a expedientes asociados a un menor en la que dichos órganos toman parte, como en otras actividades no asociadas a un menor, pero sobre las que ejercen competencias dichos órganos (pe: Visitas a Centros de Menores)</a:t>
            </a:r>
          </a:p>
          <a:p>
            <a:pPr marL="0" indent="-57151" defTabSz="914400">
              <a:buNone/>
            </a:pPr>
            <a:endParaRPr lang="es-ES_tradnl" sz="1600" b="1" dirty="0"/>
          </a:p>
          <a:p>
            <a:pPr marL="0" indent="-57151" defTabSz="914400">
              <a:buNone/>
            </a:pPr>
            <a:r>
              <a:rPr lang="es-ES_tradnl" sz="1600" b="1" dirty="0"/>
              <a:t>Tipos de Expedientes</a:t>
            </a:r>
            <a:r>
              <a:rPr lang="es-ES" sz="1600" dirty="0"/>
              <a:t>: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Guarda (EMG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Determinación de Edad (DEE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Situación en Riesgo (EMR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Tutela Automática (ETA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Ensayo clínico (DPE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Visita a Centro de Menores (EVM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Visita a Centros Penitenciarios (VPE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Visitas a Fiscalías (EVF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Diligencias Informativas (DPF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4007949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xpedientes de Protección de Menores (EPM)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52" name="Marcador de contenido 1">
            <a:extLst>
              <a:ext uri="{FF2B5EF4-FFF2-40B4-BE49-F238E27FC236}">
                <a16:creationId xmlns:a16="http://schemas.microsoft.com/office/drawing/2014/main" id="{71E6876F-4337-4297-8A50-43E5BD2AB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32" y="908720"/>
            <a:ext cx="11113572" cy="496855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dirty="0"/>
              <a:t>En las últimas versiones de la aplicación se ha perseguido convertir los expedientes en expedientes electrónicos con el fin de eliminar el papel. </a:t>
            </a:r>
          </a:p>
          <a:p>
            <a:pPr marL="0" indent="-57151" defTabSz="914400">
              <a:buNone/>
            </a:pPr>
            <a:endParaRPr lang="es-ES_tradnl" sz="1600" b="1" dirty="0"/>
          </a:p>
          <a:p>
            <a:pPr marL="0" indent="-57151" defTabSz="914400">
              <a:buNone/>
            </a:pPr>
            <a:r>
              <a:rPr lang="es-ES_tradnl" sz="1600" b="1" dirty="0"/>
              <a:t>Beneficios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Base de datos única que permite a la Fiscalía de </a:t>
            </a:r>
            <a:r>
              <a:rPr lang="es-ES" sz="1600" b="1" dirty="0"/>
              <a:t>Sala de Menores y Extranjería </a:t>
            </a:r>
            <a:r>
              <a:rPr lang="es-ES" sz="1600" dirty="0"/>
              <a:t>la consulta de los expedientes a nivel nacional. 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Permite obtener el </a:t>
            </a:r>
            <a:r>
              <a:rPr lang="es-ES" sz="1600" b="1" dirty="0"/>
              <a:t>historial de un menor</a:t>
            </a:r>
            <a:r>
              <a:rPr lang="es-ES" sz="1600" dirty="0"/>
              <a:t> de forma rápida tanto en la fiscalía propia fiscalía como en otras.</a:t>
            </a:r>
          </a:p>
          <a:p>
            <a:pPr marL="242886" lvl="2" indent="0" defTabSz="914400">
              <a:buNone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b="1" dirty="0"/>
              <a:t>Expediente electrónico </a:t>
            </a:r>
            <a:r>
              <a:rPr lang="es-ES" sz="1600" dirty="0"/>
              <a:t>al permitir registrar los trámites con el uso de plantillas y firmar los documentos en la propia aplicación y haciendo uso del CSV (Código Seguro de Verificación)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dirty="0"/>
              <a:t>Permite el </a:t>
            </a:r>
            <a:r>
              <a:rPr lang="es-ES" sz="1600" b="1" dirty="0"/>
              <a:t>envío de correos electrónicos </a:t>
            </a:r>
            <a:r>
              <a:rPr lang="es-ES" sz="1600" dirty="0"/>
              <a:t>desde la aplicación junto con los documentos asociados al expediente</a:t>
            </a:r>
          </a:p>
          <a:p>
            <a:pPr marL="242886" lvl="2" indent="0" defTabSz="914400">
              <a:buNone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r>
              <a:rPr lang="es-ES" sz="1600" b="1" dirty="0"/>
              <a:t>Integración</a:t>
            </a:r>
            <a:r>
              <a:rPr lang="es-ES" sz="1600" dirty="0"/>
              <a:t> manual con </a:t>
            </a:r>
            <a:r>
              <a:rPr lang="es-ES" sz="1600" b="1" dirty="0"/>
              <a:t>GEISER</a:t>
            </a:r>
            <a:r>
              <a:rPr lang="es-ES" sz="1600" dirty="0"/>
              <a:t> al permitir anexar toda la documentación recibida electrónicamente</a:t>
            </a:r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600075" lvl="2" indent="-357189" defTabSz="914400">
              <a:buFont typeface="Wingdings" panose="05000000000000000000" pitchFamily="2" charset="2"/>
              <a:buChar char="q"/>
            </a:pPr>
            <a:endParaRPr lang="es-ES" sz="1600" dirty="0"/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32759602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uadroTexto 24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>
            <a:off x="1691841" y="951964"/>
            <a:ext cx="88247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0D3E4B"/>
                </a:solidFill>
              </a:rPr>
              <a:t>Funcionalidades de la aplicación</a:t>
            </a:r>
          </a:p>
        </p:txBody>
      </p:sp>
      <p:sp>
        <p:nvSpPr>
          <p:cNvPr id="26" name="Rectángulo redondeado 25"/>
          <p:cNvSpPr/>
          <p:nvPr/>
        </p:nvSpPr>
        <p:spPr>
          <a:xfrm>
            <a:off x="1691841" y="4328917"/>
            <a:ext cx="8705335" cy="14217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1177701" y="2486323"/>
            <a:ext cx="1499493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rgbClr val="0D3E4B"/>
                </a:solidFill>
              </a:rPr>
              <a:t>Actualmente</a:t>
            </a: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8B0D9660-0D69-4529-85A3-4E804801CDC4}"/>
              </a:ext>
            </a:extLst>
          </p:cNvPr>
          <p:cNvSpPr txBox="1"/>
          <p:nvPr/>
        </p:nvSpPr>
        <p:spPr>
          <a:xfrm rot="16200000">
            <a:off x="1260609" y="4814685"/>
            <a:ext cx="1524090" cy="347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rgbClr val="0D3E4B"/>
                </a:solidFill>
              </a:rPr>
              <a:t>En el futro</a:t>
            </a:r>
          </a:p>
        </p:txBody>
      </p:sp>
      <p:grpSp>
        <p:nvGrpSpPr>
          <p:cNvPr id="8" name="Grupo 7"/>
          <p:cNvGrpSpPr/>
          <p:nvPr/>
        </p:nvGrpSpPr>
        <p:grpSpPr>
          <a:xfrm>
            <a:off x="6441925" y="4605734"/>
            <a:ext cx="2612921" cy="931224"/>
            <a:chOff x="6723519" y="4872235"/>
            <a:chExt cx="2612921" cy="931224"/>
          </a:xfrm>
        </p:grpSpPr>
        <p:pic>
          <p:nvPicPr>
            <p:cNvPr id="40" name="Imagen 3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6236" y="4872235"/>
              <a:ext cx="303868" cy="359680"/>
            </a:xfrm>
            <a:prstGeom prst="rect">
              <a:avLst/>
            </a:prstGeom>
          </p:spPr>
        </p:pic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7146749" y="4889304"/>
              <a:ext cx="218969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CUADRO DE MANDO</a:t>
              </a:r>
            </a:p>
          </p:txBody>
        </p:sp>
        <p:sp>
          <p:nvSpPr>
            <p:cNvPr id="61" name="CuadroTexto 60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6723519" y="5226378"/>
              <a:ext cx="2313446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Envío de los datos de la aplicación al cuadro de mando para su posterior análisis</a:t>
              </a:r>
            </a:p>
          </p:txBody>
        </p:sp>
      </p:grpSp>
      <p:sp>
        <p:nvSpPr>
          <p:cNvPr id="64" name="Rectángulo redondeado 63"/>
          <p:cNvSpPr/>
          <p:nvPr/>
        </p:nvSpPr>
        <p:spPr>
          <a:xfrm>
            <a:off x="1716208" y="1610121"/>
            <a:ext cx="8705335" cy="23571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3" name="Grupo 2"/>
          <p:cNvGrpSpPr/>
          <p:nvPr/>
        </p:nvGrpSpPr>
        <p:grpSpPr>
          <a:xfrm>
            <a:off x="7726528" y="1829327"/>
            <a:ext cx="2690031" cy="573565"/>
            <a:chOff x="6599765" y="3414163"/>
            <a:chExt cx="2690031" cy="573565"/>
          </a:xfrm>
        </p:grpSpPr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7100105" y="3476690"/>
              <a:ext cx="218969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ESTADÍSTICAS</a:t>
              </a:r>
            </a:p>
          </p:txBody>
        </p:sp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6599765" y="3733812"/>
              <a:ext cx="2313446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Explotación de los datos registrados</a:t>
              </a:r>
            </a:p>
          </p:txBody>
        </p:sp>
        <p:pic>
          <p:nvPicPr>
            <p:cNvPr id="66" name="Imagen 6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6870" y="3414163"/>
              <a:ext cx="355178" cy="355178"/>
            </a:xfrm>
            <a:prstGeom prst="rect">
              <a:avLst/>
            </a:prstGeom>
          </p:spPr>
        </p:pic>
      </p:grpSp>
      <p:sp>
        <p:nvSpPr>
          <p:cNvPr id="70" name="Título 1">
            <a:extLst>
              <a:ext uri="{FF2B5EF4-FFF2-40B4-BE49-F238E27FC236}">
                <a16:creationId xmlns:a16="http://schemas.microsoft.com/office/drawing/2014/main" id="{9EC6F543-B371-4209-BA6B-B74A0E190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3634" y="-274036"/>
            <a:ext cx="8865122" cy="1143000"/>
          </a:xfrm>
        </p:spPr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imes New Roman" panose="02020603050405020304" pitchFamily="18" charset="0"/>
              </a:rPr>
              <a:t>Expedientes de Protección de Menores</a:t>
            </a:r>
            <a:endParaRPr lang="en-GB" dirty="0"/>
          </a:p>
        </p:txBody>
      </p:sp>
      <p:grpSp>
        <p:nvGrpSpPr>
          <p:cNvPr id="2" name="Grupo 1"/>
          <p:cNvGrpSpPr/>
          <p:nvPr/>
        </p:nvGrpSpPr>
        <p:grpSpPr>
          <a:xfrm>
            <a:off x="2256241" y="1700808"/>
            <a:ext cx="2687631" cy="816647"/>
            <a:chOff x="2256241" y="3212976"/>
            <a:chExt cx="2687631" cy="816647"/>
          </a:xfrm>
        </p:grpSpPr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2722187" y="3263185"/>
              <a:ext cx="222168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EXPEDIENTE ELECTRÓNICO</a:t>
              </a:r>
              <a:endParaRPr lang="es-ES" sz="1400" dirty="0">
                <a:solidFill>
                  <a:schemeClr val="tx2"/>
                </a:solidFill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2256241" y="3614125"/>
              <a:ext cx="2520000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Registro y tramitación de expedientes con asuntos de protección</a:t>
              </a:r>
            </a:p>
          </p:txBody>
        </p:sp>
        <p:pic>
          <p:nvPicPr>
            <p:cNvPr id="29" name="Picture 10" descr="Logo documento vector, gráfico vectorial, imágenes de Logo documento  vectoriales de stock | Depositphotos®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9008" y="3212976"/>
              <a:ext cx="474926" cy="4626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upo 3"/>
          <p:cNvGrpSpPr/>
          <p:nvPr/>
        </p:nvGrpSpPr>
        <p:grpSpPr>
          <a:xfrm>
            <a:off x="5087888" y="1700808"/>
            <a:ext cx="2525448" cy="1114373"/>
            <a:chOff x="5087888" y="3658729"/>
            <a:chExt cx="2525448" cy="1114373"/>
          </a:xfrm>
        </p:grpSpPr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5455419" y="3700396"/>
              <a:ext cx="1980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FIRMA ELECTRÓNICA</a:t>
              </a:r>
            </a:p>
          </p:txBody>
        </p:sp>
        <p:sp>
          <p:nvSpPr>
            <p:cNvPr id="31" name="CuadroTexto 30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5093336" y="4021614"/>
              <a:ext cx="2520000" cy="7514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Realiza la firma electrónica con CSV sobre el documento principal de un  trámite</a:t>
              </a:r>
            </a:p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Firma en portafirmas o embebida en la </a:t>
              </a:r>
              <a:r>
                <a:rPr lang="es-ES" sz="1050" i="1" dirty="0" err="1">
                  <a:latin typeface="+mj-lt"/>
                </a:rPr>
                <a:t>aplicacón</a:t>
              </a:r>
              <a:endParaRPr lang="es-ES" sz="1050" i="1" dirty="0">
                <a:latin typeface="+mj-lt"/>
              </a:endParaRPr>
            </a:p>
          </p:txBody>
        </p:sp>
        <p:pic>
          <p:nvPicPr>
            <p:cNvPr id="32" name="Imagen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7888" y="3658729"/>
              <a:ext cx="405259" cy="390062"/>
            </a:xfrm>
            <a:prstGeom prst="rect">
              <a:avLst/>
            </a:prstGeom>
          </p:spPr>
        </p:pic>
      </p:grpSp>
      <p:grpSp>
        <p:nvGrpSpPr>
          <p:cNvPr id="5" name="Grupo 4"/>
          <p:cNvGrpSpPr/>
          <p:nvPr/>
        </p:nvGrpSpPr>
        <p:grpSpPr>
          <a:xfrm>
            <a:off x="2351864" y="2901546"/>
            <a:ext cx="2520000" cy="815486"/>
            <a:chOff x="1546664" y="2855327"/>
            <a:chExt cx="2520000" cy="815486"/>
          </a:xfrm>
        </p:grpSpPr>
        <p:sp>
          <p:nvSpPr>
            <p:cNvPr id="34" name="Rectángulo 33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2023338" y="2931468"/>
              <a:ext cx="1980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CORREO ELECTRÓNICO</a:t>
              </a: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1546664" y="3255315"/>
              <a:ext cx="2520000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Enviar correos electrónicos con adjuntos desde un expediente</a:t>
              </a:r>
            </a:p>
          </p:txBody>
        </p:sp>
        <p:pic>
          <p:nvPicPr>
            <p:cNvPr id="45" name="Imagen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0593" y="2855327"/>
              <a:ext cx="343225" cy="319113"/>
            </a:xfrm>
            <a:prstGeom prst="rect">
              <a:avLst/>
            </a:prstGeom>
          </p:spPr>
        </p:pic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5843633" y="2901546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MODELOS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5079607" y="3194926"/>
            <a:ext cx="264380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Generación de documentos asociados a los trámites a partir de modelos</a:t>
            </a:r>
          </a:p>
        </p:txBody>
      </p:sp>
      <p:pic>
        <p:nvPicPr>
          <p:cNvPr id="48" name="Imagen 4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739" y="2901546"/>
            <a:ext cx="682768" cy="333963"/>
          </a:xfrm>
          <a:prstGeom prst="rect">
            <a:avLst/>
          </a:prstGeom>
        </p:spPr>
      </p:pic>
      <p:pic>
        <p:nvPicPr>
          <p:cNvPr id="50" name="Imagen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365" y="2776394"/>
            <a:ext cx="453004" cy="451573"/>
          </a:xfrm>
          <a:prstGeom prst="rect">
            <a:avLst/>
          </a:prstGeom>
        </p:spPr>
      </p:pic>
      <p:sp>
        <p:nvSpPr>
          <p:cNvPr id="51" name="Rectángulo 50">
            <a:extLst>
              <a:ext uri="{FF2B5EF4-FFF2-40B4-BE49-F238E27FC236}">
                <a16:creationId xmlns:a16="http://schemas.microsoft.com/office/drawing/2014/main" id="{F834F47A-DE32-4E7D-904A-AC7461FB7ADC}"/>
              </a:ext>
            </a:extLst>
          </p:cNvPr>
          <p:cNvSpPr/>
          <p:nvPr/>
        </p:nvSpPr>
        <p:spPr>
          <a:xfrm>
            <a:off x="8529909" y="2810366"/>
            <a:ext cx="198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dirty="0">
                <a:solidFill>
                  <a:schemeClr val="tx2"/>
                </a:solidFill>
              </a:rPr>
              <a:t>ESTADILLOS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D3780CED-2D62-42B6-9085-AD7F0E525F74}"/>
              </a:ext>
            </a:extLst>
          </p:cNvPr>
          <p:cNvSpPr txBox="1"/>
          <p:nvPr/>
        </p:nvSpPr>
        <p:spPr>
          <a:xfrm>
            <a:off x="7723410" y="3284788"/>
            <a:ext cx="264380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00"/>
              </a:spcAft>
            </a:pPr>
            <a:r>
              <a:rPr lang="es-ES" sz="1050" i="1" dirty="0">
                <a:latin typeface="+mj-lt"/>
              </a:rPr>
              <a:t>Extracción de datos de tramitación para la generación de Estadillos</a:t>
            </a:r>
          </a:p>
        </p:txBody>
      </p:sp>
      <p:grpSp>
        <p:nvGrpSpPr>
          <p:cNvPr id="9" name="Grupo 8"/>
          <p:cNvGrpSpPr/>
          <p:nvPr/>
        </p:nvGrpSpPr>
        <p:grpSpPr>
          <a:xfrm>
            <a:off x="2455793" y="4610261"/>
            <a:ext cx="2643803" cy="859080"/>
            <a:chOff x="2593541" y="4902253"/>
            <a:chExt cx="2643803" cy="859080"/>
          </a:xfrm>
        </p:grpSpPr>
        <p:pic>
          <p:nvPicPr>
            <p:cNvPr id="59" name="Picture 2" descr="GEISER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9753" y="4999810"/>
              <a:ext cx="577591" cy="1359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Rectángulo 61">
              <a:extLst>
                <a:ext uri="{FF2B5EF4-FFF2-40B4-BE49-F238E27FC236}">
                  <a16:creationId xmlns:a16="http://schemas.microsoft.com/office/drawing/2014/main" id="{F834F47A-DE32-4E7D-904A-AC7461FB7ADC}"/>
                </a:ext>
              </a:extLst>
            </p:cNvPr>
            <p:cNvSpPr/>
            <p:nvPr/>
          </p:nvSpPr>
          <p:spPr>
            <a:xfrm>
              <a:off x="3257344" y="4902253"/>
              <a:ext cx="1980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400" b="1" dirty="0">
                  <a:solidFill>
                    <a:schemeClr val="tx2"/>
                  </a:solidFill>
                </a:rPr>
                <a:t>OFICINA REGISTRO</a:t>
              </a:r>
            </a:p>
          </p:txBody>
        </p:sp>
        <p:sp>
          <p:nvSpPr>
            <p:cNvPr id="63" name="CuadroTexto 62">
              <a:extLst>
                <a:ext uri="{FF2B5EF4-FFF2-40B4-BE49-F238E27FC236}">
                  <a16:creationId xmlns:a16="http://schemas.microsoft.com/office/drawing/2014/main" id="{D3780CED-2D62-42B6-9085-AD7F0E525F74}"/>
                </a:ext>
              </a:extLst>
            </p:cNvPr>
            <p:cNvSpPr txBox="1"/>
            <p:nvPr/>
          </p:nvSpPr>
          <p:spPr>
            <a:xfrm>
              <a:off x="2593541" y="5184252"/>
              <a:ext cx="2643803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spcAft>
                  <a:spcPts val="100"/>
                </a:spcAft>
              </a:pPr>
              <a:r>
                <a:rPr lang="es-ES" sz="1050" i="1" dirty="0">
                  <a:latin typeface="+mj-lt"/>
                </a:rPr>
                <a:t>Integración con la oficina de registro en la entrada y salida de documentos asociada a un expedi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7126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pt-BR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Tipos de expedientes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tadísticas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5</a:t>
            </a:fld>
            <a:endParaRPr lang="es-ES" dirty="0"/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4505867"/>
              </p:ext>
            </p:extLst>
          </p:nvPr>
        </p:nvGraphicFramePr>
        <p:xfrm>
          <a:off x="547233" y="277812"/>
          <a:ext cx="11097533" cy="6302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48070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6</a:t>
            </a:fld>
            <a:endParaRPr lang="es-ES" dirty="0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>
          <a:xfrm>
            <a:off x="191344" y="1025024"/>
            <a:ext cx="11113572" cy="7386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/>
        </p:nvGraphicFramePr>
        <p:xfrm>
          <a:off x="263352" y="868964"/>
          <a:ext cx="11708332" cy="5729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tadísticas</a:t>
            </a:r>
          </a:p>
        </p:txBody>
      </p:sp>
    </p:spTree>
    <p:extLst>
      <p:ext uri="{BB962C8B-B14F-4D97-AF65-F5344CB8AC3E}">
        <p14:creationId xmlns:p14="http://schemas.microsoft.com/office/powerpoint/2010/main" val="2271738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9BAC01D4-EEAE-47A9-A3C4-377265FB0B55}"/>
              </a:ext>
            </a:extLst>
          </p:cNvPr>
          <p:cNvSpPr txBox="1">
            <a:spLocks/>
          </p:cNvSpPr>
          <p:nvPr/>
        </p:nvSpPr>
        <p:spPr>
          <a:xfrm>
            <a:off x="2015232" y="1607768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  <p:sp>
        <p:nvSpPr>
          <p:cNvPr id="3" name="Subtitle 9">
            <a:extLst>
              <a:ext uri="{FF2B5EF4-FFF2-40B4-BE49-F238E27FC236}">
                <a16:creationId xmlns:a16="http://schemas.microsoft.com/office/drawing/2014/main" id="{DB4F6D73-2B38-4DB0-BA02-3D3911D9E146}"/>
              </a:ext>
            </a:extLst>
          </p:cNvPr>
          <p:cNvSpPr txBox="1">
            <a:spLocks/>
          </p:cNvSpPr>
          <p:nvPr/>
        </p:nvSpPr>
        <p:spPr bwMode="auto">
          <a:xfrm>
            <a:off x="2015232" y="3546864"/>
            <a:ext cx="8185224" cy="2114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r>
              <a:rPr lang="es-ES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Centro de Productos Procesales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r>
              <a:rPr lang="es-ES" sz="18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Subdirección General de Desarrollo e Implantación de Servicios Digitales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r>
              <a:rPr lang="es-ES" sz="16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Dirección General de Transformación Digital de la Administración de Justicia</a:t>
            </a: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58D26DE57F0864F9E06396D20AECA7C" ma:contentTypeVersion="12" ma:contentTypeDescription="Crear nuevo documento." ma:contentTypeScope="" ma:versionID="f0c0f1b0dd28f47be62bdba8d4029b5a">
  <xsd:schema xmlns:xsd="http://www.w3.org/2001/XMLSchema" xmlns:xs="http://www.w3.org/2001/XMLSchema" xmlns:p="http://schemas.microsoft.com/office/2006/metadata/properties" xmlns:ns3="6e5dcf57-0600-418c-8cfe-11744ee1067f" xmlns:ns4="64d257f4-e66d-4079-bc4f-f062b894675f" targetNamespace="http://schemas.microsoft.com/office/2006/metadata/properties" ma:root="true" ma:fieldsID="3e00dfd8f9d69276e5a7fcfdad90be25" ns3:_="" ns4:_="">
    <xsd:import namespace="6e5dcf57-0600-418c-8cfe-11744ee1067f"/>
    <xsd:import namespace="64d257f4-e66d-4079-bc4f-f062b894675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5dcf57-0600-418c-8cfe-11744ee106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d257f4-e66d-4079-bc4f-f062b894675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B934BD5-A932-45DB-905E-B5557407F7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5dcf57-0600-418c-8cfe-11744ee1067f"/>
    <ds:schemaRef ds:uri="64d257f4-e66d-4079-bc4f-f062b89467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4BDE75-8990-445E-A5CF-3A4967CD8EEE}">
  <ds:schemaRefs>
    <ds:schemaRef ds:uri="6e5dcf57-0600-418c-8cfe-11744ee1067f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4d257f4-e66d-4079-bc4f-f062b894675f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20</TotalTime>
  <Words>458</Words>
  <Application>Microsoft Office PowerPoint</Application>
  <PresentationFormat>Panorámica</PresentationFormat>
  <Paragraphs>80</Paragraphs>
  <Slides>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3" baseType="lpstr">
      <vt:lpstr>Arial</vt:lpstr>
      <vt:lpstr>Calibri</vt:lpstr>
      <vt:lpstr>Verdana</vt:lpstr>
      <vt:lpstr>Wingdings</vt:lpstr>
      <vt:lpstr>Tema de Office</vt:lpstr>
      <vt:lpstr>Diapositiva de think-cell</vt:lpstr>
      <vt:lpstr>Presentación de PowerPoint</vt:lpstr>
      <vt:lpstr>Expedientes de Protección de Menores (EPM)</vt:lpstr>
      <vt:lpstr>Expedientes de Protección de Menores (EPM)</vt:lpstr>
      <vt:lpstr>Expedientes de Protección de Menores</vt:lpstr>
      <vt:lpstr>Estadísticas</vt:lpstr>
      <vt:lpstr>Estadístic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Lucia Morales Sanchez</cp:lastModifiedBy>
  <cp:revision>1321</cp:revision>
  <cp:lastPrinted>2016-06-29T10:24:36Z</cp:lastPrinted>
  <dcterms:created xsi:type="dcterms:W3CDTF">2012-05-17T08:07:55Z</dcterms:created>
  <dcterms:modified xsi:type="dcterms:W3CDTF">2022-03-23T07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8D26DE57F0864F9E06396D20AECA7C</vt:lpwstr>
  </property>
</Properties>
</file>